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notesSlides/notesSlide1.xml" ContentType="application/vnd.openxmlformats-officedocument.presentationml.notesSlide+xml"/>
  <Override PartName="/ppt/tags/tag105.xml" ContentType="application/vnd.openxmlformats-officedocument.presentationml.tags+xml"/>
  <Override PartName="/ppt/notesSlides/notesSlide2.xml" ContentType="application/vnd.openxmlformats-officedocument.presentationml.notesSlide+xml"/>
  <Override PartName="/ppt/tags/tag106.xml" ContentType="application/vnd.openxmlformats-officedocument.presentationml.tags+xml"/>
  <Override PartName="/ppt/notesSlides/notesSlide3.xml" ContentType="application/vnd.openxmlformats-officedocument.presentationml.notesSlide+xml"/>
  <Override PartName="/ppt/tags/tag107.xml" ContentType="application/vnd.openxmlformats-officedocument.presentationml.tags+xml"/>
  <Override PartName="/ppt/notesSlides/notesSlide4.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5.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6.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7.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8.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notesSlides/notesSlide9.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10.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Lst>
  <p:notesMasterIdLst>
    <p:notesMasterId r:id="rId44"/>
  </p:notesMasterIdLst>
  <p:handoutMasterIdLst>
    <p:handoutMasterId r:id="rId45"/>
  </p:handoutMasterIdLst>
  <p:sldIdLst>
    <p:sldId id="256" r:id="rId13"/>
    <p:sldId id="2365" r:id="rId14"/>
    <p:sldId id="2183" r:id="rId15"/>
    <p:sldId id="2275" r:id="rId16"/>
    <p:sldId id="2256" r:id="rId17"/>
    <p:sldId id="2366" r:id="rId18"/>
    <p:sldId id="2258" r:id="rId19"/>
    <p:sldId id="2255" r:id="rId20"/>
    <p:sldId id="2367" r:id="rId21"/>
    <p:sldId id="2372" r:id="rId22"/>
    <p:sldId id="2257" r:id="rId23"/>
    <p:sldId id="2368" r:id="rId24"/>
    <p:sldId id="2373" r:id="rId25"/>
    <p:sldId id="2261" r:id="rId26"/>
    <p:sldId id="2262" r:id="rId27"/>
    <p:sldId id="2374" r:id="rId28"/>
    <p:sldId id="2266" r:id="rId29"/>
    <p:sldId id="2369" r:id="rId30"/>
    <p:sldId id="2370" r:id="rId31"/>
    <p:sldId id="2371" r:id="rId32"/>
    <p:sldId id="2264" r:id="rId33"/>
    <p:sldId id="2267" r:id="rId34"/>
    <p:sldId id="2268" r:id="rId35"/>
    <p:sldId id="2269" r:id="rId36"/>
    <p:sldId id="2270" r:id="rId37"/>
    <p:sldId id="2375" r:id="rId38"/>
    <p:sldId id="2272" r:id="rId39"/>
    <p:sldId id="2376" r:id="rId40"/>
    <p:sldId id="2273" r:id="rId41"/>
    <p:sldId id="1598" r:id="rId42"/>
    <p:sldId id="2149" r:id="rId43"/>
  </p:sldIdLst>
  <p:sldSz cx="12192000" cy="6858000"/>
  <p:notesSz cx="6858000" cy="91440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D3EFCE"/>
    <a:srgbClr val="EBF6DE"/>
    <a:srgbClr val="FF0000"/>
    <a:srgbClr val="D9D9D9"/>
    <a:srgbClr val="F7F7F7"/>
    <a:srgbClr val="92D050"/>
    <a:srgbClr val="00B050"/>
    <a:srgbClr val="EBF2FF"/>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439F51-E0E8-4B14-9E77-8A11DFB18B79}" v="22" dt="2023-06-14T02:50:57.8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89" autoAdjust="0"/>
    <p:restoredTop sz="94987" autoAdjust="0"/>
  </p:normalViewPr>
  <p:slideViewPr>
    <p:cSldViewPr snapToGrid="0">
      <p:cViewPr varScale="1">
        <p:scale>
          <a:sx n="56" d="100"/>
          <a:sy n="56" d="100"/>
        </p:scale>
        <p:origin x="1048"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9786"/>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handoutMaster" Target="handoutMasters/handoutMaster1.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notesMaster" Target="notesMasters/notesMaster1.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ags" Target="tags/tag1.xml"/><Relationship Id="rId20" Type="http://schemas.openxmlformats.org/officeDocument/2006/relationships/slide" Target="slides/slide8.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C523CB9D-DE17-4F66-BAA5-E2467A3E4858}"/>
    <pc:docChg chg="delSld modSld">
      <pc:chgData name="Aurelien Domont" userId="6da7715ce44349b3" providerId="LiveId" clId="{C523CB9D-DE17-4F66-BAA5-E2467A3E4858}" dt="2021-05-03T08:03:28.500" v="13" actId="20577"/>
      <pc:docMkLst>
        <pc:docMk/>
      </pc:docMkLst>
      <pc:sldChg chg="del">
        <pc:chgData name="Aurelien Domont" userId="6da7715ce44349b3" providerId="LiveId" clId="{C523CB9D-DE17-4F66-BAA5-E2467A3E4858}" dt="2021-05-03T08:02:20.197" v="0" actId="47"/>
        <pc:sldMkLst>
          <pc:docMk/>
          <pc:sldMk cId="4262757208" sldId="1792"/>
        </pc:sldMkLst>
      </pc:sldChg>
      <pc:sldChg chg="del">
        <pc:chgData name="Aurelien Domont" userId="6da7715ce44349b3" providerId="LiveId" clId="{C523CB9D-DE17-4F66-BAA5-E2467A3E4858}" dt="2021-05-03T08:02:20.197" v="0" actId="47"/>
        <pc:sldMkLst>
          <pc:docMk/>
          <pc:sldMk cId="504490806" sldId="1796"/>
        </pc:sldMkLst>
      </pc:sldChg>
      <pc:sldChg chg="del">
        <pc:chgData name="Aurelien Domont" userId="6da7715ce44349b3" providerId="LiveId" clId="{C523CB9D-DE17-4F66-BAA5-E2467A3E4858}" dt="2021-05-03T08:02:20.197" v="0" actId="47"/>
        <pc:sldMkLst>
          <pc:docMk/>
          <pc:sldMk cId="767058056" sldId="1797"/>
        </pc:sldMkLst>
      </pc:sldChg>
      <pc:sldChg chg="del">
        <pc:chgData name="Aurelien Domont" userId="6da7715ce44349b3" providerId="LiveId" clId="{C523CB9D-DE17-4F66-BAA5-E2467A3E4858}" dt="2021-05-03T08:02:20.197" v="0" actId="47"/>
        <pc:sldMkLst>
          <pc:docMk/>
          <pc:sldMk cId="713437184" sldId="1882"/>
        </pc:sldMkLst>
      </pc:sldChg>
      <pc:sldChg chg="del">
        <pc:chgData name="Aurelien Domont" userId="6da7715ce44349b3" providerId="LiveId" clId="{C523CB9D-DE17-4F66-BAA5-E2467A3E4858}" dt="2021-05-03T08:02:20.197" v="0" actId="47"/>
        <pc:sldMkLst>
          <pc:docMk/>
          <pc:sldMk cId="3792836084" sldId="1883"/>
        </pc:sldMkLst>
      </pc:sldChg>
      <pc:sldChg chg="del">
        <pc:chgData name="Aurelien Domont" userId="6da7715ce44349b3" providerId="LiveId" clId="{C523CB9D-DE17-4F66-BAA5-E2467A3E4858}" dt="2021-05-03T08:02:20.197" v="0" actId="47"/>
        <pc:sldMkLst>
          <pc:docMk/>
          <pc:sldMk cId="3227587685" sldId="1884"/>
        </pc:sldMkLst>
      </pc:sldChg>
      <pc:sldChg chg="del">
        <pc:chgData name="Aurelien Domont" userId="6da7715ce44349b3" providerId="LiveId" clId="{C523CB9D-DE17-4F66-BAA5-E2467A3E4858}" dt="2021-05-03T08:02:20.197" v="0" actId="47"/>
        <pc:sldMkLst>
          <pc:docMk/>
          <pc:sldMk cId="2820013767" sldId="1885"/>
        </pc:sldMkLst>
      </pc:sldChg>
      <pc:sldChg chg="del">
        <pc:chgData name="Aurelien Domont" userId="6da7715ce44349b3" providerId="LiveId" clId="{C523CB9D-DE17-4F66-BAA5-E2467A3E4858}" dt="2021-05-03T08:02:20.197" v="0" actId="47"/>
        <pc:sldMkLst>
          <pc:docMk/>
          <pc:sldMk cId="3287084427" sldId="1886"/>
        </pc:sldMkLst>
      </pc:sldChg>
      <pc:sldChg chg="del">
        <pc:chgData name="Aurelien Domont" userId="6da7715ce44349b3" providerId="LiveId" clId="{C523CB9D-DE17-4F66-BAA5-E2467A3E4858}" dt="2021-05-03T08:02:20.197" v="0" actId="47"/>
        <pc:sldMkLst>
          <pc:docMk/>
          <pc:sldMk cId="2955017529" sldId="1887"/>
        </pc:sldMkLst>
      </pc:sldChg>
      <pc:sldChg chg="del">
        <pc:chgData name="Aurelien Domont" userId="6da7715ce44349b3" providerId="LiveId" clId="{C523CB9D-DE17-4F66-BAA5-E2467A3E4858}" dt="2021-05-03T08:02:20.197" v="0" actId="47"/>
        <pc:sldMkLst>
          <pc:docMk/>
          <pc:sldMk cId="3064639401" sldId="1889"/>
        </pc:sldMkLst>
      </pc:sldChg>
      <pc:sldChg chg="del">
        <pc:chgData name="Aurelien Domont" userId="6da7715ce44349b3" providerId="LiveId" clId="{C523CB9D-DE17-4F66-BAA5-E2467A3E4858}" dt="2021-05-03T08:02:20.197" v="0" actId="47"/>
        <pc:sldMkLst>
          <pc:docMk/>
          <pc:sldMk cId="4203379594" sldId="1890"/>
        </pc:sldMkLst>
      </pc:sldChg>
      <pc:sldChg chg="del">
        <pc:chgData name="Aurelien Domont" userId="6da7715ce44349b3" providerId="LiveId" clId="{C523CB9D-DE17-4F66-BAA5-E2467A3E4858}" dt="2021-05-03T08:02:20.197" v="0" actId="47"/>
        <pc:sldMkLst>
          <pc:docMk/>
          <pc:sldMk cId="2239563003" sldId="1892"/>
        </pc:sldMkLst>
      </pc:sldChg>
      <pc:sldChg chg="del">
        <pc:chgData name="Aurelien Domont" userId="6da7715ce44349b3" providerId="LiveId" clId="{C523CB9D-DE17-4F66-BAA5-E2467A3E4858}" dt="2021-05-03T08:02:20.197" v="0" actId="47"/>
        <pc:sldMkLst>
          <pc:docMk/>
          <pc:sldMk cId="3677099460" sldId="1893"/>
        </pc:sldMkLst>
      </pc:sldChg>
      <pc:sldChg chg="modSp mod">
        <pc:chgData name="Aurelien Domont" userId="6da7715ce44349b3" providerId="LiveId" clId="{C523CB9D-DE17-4F66-BAA5-E2467A3E4858}" dt="2021-05-03T08:02:57.383" v="2" actId="20577"/>
        <pc:sldMkLst>
          <pc:docMk/>
          <pc:sldMk cId="3738554192" sldId="1918"/>
        </pc:sldMkLst>
        <pc:spChg chg="mod">
          <ac:chgData name="Aurelien Domont" userId="6da7715ce44349b3" providerId="LiveId" clId="{C523CB9D-DE17-4F66-BAA5-E2467A3E4858}" dt="2021-05-03T08:02:57.383" v="2" actId="20577"/>
          <ac:spMkLst>
            <pc:docMk/>
            <pc:sldMk cId="3738554192" sldId="1918"/>
            <ac:spMk id="16" creationId="{6C2BB713-9637-4B9B-938F-E9768876782A}"/>
          </ac:spMkLst>
        </pc:spChg>
      </pc:sldChg>
      <pc:sldChg chg="modSp mod">
        <pc:chgData name="Aurelien Domont" userId="6da7715ce44349b3" providerId="LiveId" clId="{C523CB9D-DE17-4F66-BAA5-E2467A3E4858}" dt="2021-05-03T08:03:28.500" v="13" actId="20577"/>
        <pc:sldMkLst>
          <pc:docMk/>
          <pc:sldMk cId="4287792945" sldId="1919"/>
        </pc:sldMkLst>
        <pc:spChg chg="mod">
          <ac:chgData name="Aurelien Domont" userId="6da7715ce44349b3" providerId="LiveId" clId="{C523CB9D-DE17-4F66-BAA5-E2467A3E4858}" dt="2021-05-03T08:03:25.707" v="11" actId="20577"/>
          <ac:spMkLst>
            <pc:docMk/>
            <pc:sldMk cId="4287792945" sldId="1919"/>
            <ac:spMk id="2" creationId="{DB8DB0C8-E51F-47D1-A351-F9D9CA2C15DA}"/>
          </ac:spMkLst>
        </pc:spChg>
        <pc:spChg chg="mod">
          <ac:chgData name="Aurelien Domont" userId="6da7715ce44349b3" providerId="LiveId" clId="{C523CB9D-DE17-4F66-BAA5-E2467A3E4858}" dt="2021-05-03T08:03:28.500" v="13" actId="20577"/>
          <ac:spMkLst>
            <pc:docMk/>
            <pc:sldMk cId="4287792945" sldId="1919"/>
            <ac:spMk id="16" creationId="{6C2BB713-9637-4B9B-938F-E9768876782A}"/>
          </ac:spMkLst>
        </pc:spChg>
      </pc:sldChg>
      <pc:sldChg chg="del">
        <pc:chgData name="Aurelien Domont" userId="6da7715ce44349b3" providerId="LiveId" clId="{C523CB9D-DE17-4F66-BAA5-E2467A3E4858}" dt="2021-05-03T08:02:20.197" v="0" actId="47"/>
        <pc:sldMkLst>
          <pc:docMk/>
          <pc:sldMk cId="597933806" sldId="1925"/>
        </pc:sldMkLst>
      </pc:sldChg>
      <pc:sldChg chg="del">
        <pc:chgData name="Aurelien Domont" userId="6da7715ce44349b3" providerId="LiveId" clId="{C523CB9D-DE17-4F66-BAA5-E2467A3E4858}" dt="2021-05-03T08:02:20.197" v="0" actId="47"/>
        <pc:sldMkLst>
          <pc:docMk/>
          <pc:sldMk cId="1874123290" sldId="1926"/>
        </pc:sldMkLst>
      </pc:sldChg>
      <pc:sldChg chg="del">
        <pc:chgData name="Aurelien Domont" userId="6da7715ce44349b3" providerId="LiveId" clId="{C523CB9D-DE17-4F66-BAA5-E2467A3E4858}" dt="2021-05-03T08:02:20.197" v="0" actId="47"/>
        <pc:sldMkLst>
          <pc:docMk/>
          <pc:sldMk cId="235018652" sldId="1927"/>
        </pc:sldMkLst>
      </pc:sldChg>
      <pc:sldChg chg="del">
        <pc:chgData name="Aurelien Domont" userId="6da7715ce44349b3" providerId="LiveId" clId="{C523CB9D-DE17-4F66-BAA5-E2467A3E4858}" dt="2021-05-03T08:02:20.197" v="0" actId="47"/>
        <pc:sldMkLst>
          <pc:docMk/>
          <pc:sldMk cId="1374159068" sldId="1928"/>
        </pc:sldMkLst>
      </pc:sldChg>
      <pc:sldChg chg="del">
        <pc:chgData name="Aurelien Domont" userId="6da7715ce44349b3" providerId="LiveId" clId="{C523CB9D-DE17-4F66-BAA5-E2467A3E4858}" dt="2021-05-03T08:02:20.197" v="0" actId="47"/>
        <pc:sldMkLst>
          <pc:docMk/>
          <pc:sldMk cId="802743741" sldId="1929"/>
        </pc:sldMkLst>
      </pc:sldChg>
      <pc:sldChg chg="del">
        <pc:chgData name="Aurelien Domont" userId="6da7715ce44349b3" providerId="LiveId" clId="{C523CB9D-DE17-4F66-BAA5-E2467A3E4858}" dt="2021-05-03T08:02:20.197" v="0" actId="47"/>
        <pc:sldMkLst>
          <pc:docMk/>
          <pc:sldMk cId="948385396" sldId="1930"/>
        </pc:sldMkLst>
      </pc:sldChg>
      <pc:sldChg chg="del">
        <pc:chgData name="Aurelien Domont" userId="6da7715ce44349b3" providerId="LiveId" clId="{C523CB9D-DE17-4F66-BAA5-E2467A3E4858}" dt="2021-05-03T08:02:20.197" v="0" actId="47"/>
        <pc:sldMkLst>
          <pc:docMk/>
          <pc:sldMk cId="784211076" sldId="1931"/>
        </pc:sldMkLst>
      </pc:sldChg>
      <pc:sldChg chg="del">
        <pc:chgData name="Aurelien Domont" userId="6da7715ce44349b3" providerId="LiveId" clId="{C523CB9D-DE17-4F66-BAA5-E2467A3E4858}" dt="2021-05-03T08:02:20.197" v="0" actId="47"/>
        <pc:sldMkLst>
          <pc:docMk/>
          <pc:sldMk cId="2839386134" sldId="1932"/>
        </pc:sldMkLst>
      </pc:sldChg>
      <pc:sldChg chg="del">
        <pc:chgData name="Aurelien Domont" userId="6da7715ce44349b3" providerId="LiveId" clId="{C523CB9D-DE17-4F66-BAA5-E2467A3E4858}" dt="2021-05-03T08:02:20.197" v="0" actId="47"/>
        <pc:sldMkLst>
          <pc:docMk/>
          <pc:sldMk cId="631546691" sldId="1933"/>
        </pc:sldMkLst>
      </pc:sldChg>
      <pc:sldChg chg="del">
        <pc:chgData name="Aurelien Domont" userId="6da7715ce44349b3" providerId="LiveId" clId="{C523CB9D-DE17-4F66-BAA5-E2467A3E4858}" dt="2021-05-03T08:02:20.197" v="0" actId="47"/>
        <pc:sldMkLst>
          <pc:docMk/>
          <pc:sldMk cId="1360412850" sldId="1934"/>
        </pc:sldMkLst>
      </pc:sldChg>
      <pc:sldChg chg="del">
        <pc:chgData name="Aurelien Domont" userId="6da7715ce44349b3" providerId="LiveId" clId="{C523CB9D-DE17-4F66-BAA5-E2467A3E4858}" dt="2021-05-03T08:02:20.197" v="0" actId="47"/>
        <pc:sldMkLst>
          <pc:docMk/>
          <pc:sldMk cId="317604876" sldId="1935"/>
        </pc:sldMkLst>
      </pc:sldChg>
      <pc:sldChg chg="del">
        <pc:chgData name="Aurelien Domont" userId="6da7715ce44349b3" providerId="LiveId" clId="{C523CB9D-DE17-4F66-BAA5-E2467A3E4858}" dt="2021-05-03T08:02:20.197" v="0" actId="47"/>
        <pc:sldMkLst>
          <pc:docMk/>
          <pc:sldMk cId="580696589" sldId="1936"/>
        </pc:sldMkLst>
      </pc:sldChg>
      <pc:sldChg chg="del">
        <pc:chgData name="Aurelien Domont" userId="6da7715ce44349b3" providerId="LiveId" clId="{C523CB9D-DE17-4F66-BAA5-E2467A3E4858}" dt="2021-05-03T08:02:20.197" v="0" actId="47"/>
        <pc:sldMkLst>
          <pc:docMk/>
          <pc:sldMk cId="2855966363" sldId="1937"/>
        </pc:sldMkLst>
      </pc:sldChg>
      <pc:sldChg chg="del">
        <pc:chgData name="Aurelien Domont" userId="6da7715ce44349b3" providerId="LiveId" clId="{C523CB9D-DE17-4F66-BAA5-E2467A3E4858}" dt="2021-05-03T08:02:20.197" v="0" actId="47"/>
        <pc:sldMkLst>
          <pc:docMk/>
          <pc:sldMk cId="2589605413" sldId="1938"/>
        </pc:sldMkLst>
      </pc:sldChg>
      <pc:sldChg chg="del">
        <pc:chgData name="Aurelien Domont" userId="6da7715ce44349b3" providerId="LiveId" clId="{C523CB9D-DE17-4F66-BAA5-E2467A3E4858}" dt="2021-05-03T08:02:20.197" v="0" actId="47"/>
        <pc:sldMkLst>
          <pc:docMk/>
          <pc:sldMk cId="3714325450" sldId="1939"/>
        </pc:sldMkLst>
      </pc:sldChg>
      <pc:sldChg chg="del">
        <pc:chgData name="Aurelien Domont" userId="6da7715ce44349b3" providerId="LiveId" clId="{C523CB9D-DE17-4F66-BAA5-E2467A3E4858}" dt="2021-05-03T08:02:20.197" v="0" actId="47"/>
        <pc:sldMkLst>
          <pc:docMk/>
          <pc:sldMk cId="1414149744" sldId="1940"/>
        </pc:sldMkLst>
      </pc:sldChg>
      <pc:sldChg chg="del">
        <pc:chgData name="Aurelien Domont" userId="6da7715ce44349b3" providerId="LiveId" clId="{C523CB9D-DE17-4F66-BAA5-E2467A3E4858}" dt="2021-05-03T08:02:20.197" v="0" actId="47"/>
        <pc:sldMkLst>
          <pc:docMk/>
          <pc:sldMk cId="599795422" sldId="1941"/>
        </pc:sldMkLst>
      </pc:sldChg>
      <pc:sldChg chg="del">
        <pc:chgData name="Aurelien Domont" userId="6da7715ce44349b3" providerId="LiveId" clId="{C523CB9D-DE17-4F66-BAA5-E2467A3E4858}" dt="2021-05-03T08:02:20.197" v="0" actId="47"/>
        <pc:sldMkLst>
          <pc:docMk/>
          <pc:sldMk cId="1403188377" sldId="1942"/>
        </pc:sldMkLst>
      </pc:sldChg>
      <pc:sldChg chg="del">
        <pc:chgData name="Aurelien Domont" userId="6da7715ce44349b3" providerId="LiveId" clId="{C523CB9D-DE17-4F66-BAA5-E2467A3E4858}" dt="2021-05-03T08:02:20.197" v="0" actId="47"/>
        <pc:sldMkLst>
          <pc:docMk/>
          <pc:sldMk cId="2977576074" sldId="1943"/>
        </pc:sldMkLst>
      </pc:sldChg>
      <pc:sldChg chg="del">
        <pc:chgData name="Aurelien Domont" userId="6da7715ce44349b3" providerId="LiveId" clId="{C523CB9D-DE17-4F66-BAA5-E2467A3E4858}" dt="2021-05-03T08:02:20.197" v="0" actId="47"/>
        <pc:sldMkLst>
          <pc:docMk/>
          <pc:sldMk cId="1662017462" sldId="1944"/>
        </pc:sldMkLst>
      </pc:sldChg>
      <pc:sldChg chg="del">
        <pc:chgData name="Aurelien Domont" userId="6da7715ce44349b3" providerId="LiveId" clId="{C523CB9D-DE17-4F66-BAA5-E2467A3E4858}" dt="2021-05-03T08:02:20.197" v="0" actId="47"/>
        <pc:sldMkLst>
          <pc:docMk/>
          <pc:sldMk cId="1128419591" sldId="1945"/>
        </pc:sldMkLst>
      </pc:sldChg>
      <pc:sldChg chg="del">
        <pc:chgData name="Aurelien Domont" userId="6da7715ce44349b3" providerId="LiveId" clId="{C523CB9D-DE17-4F66-BAA5-E2467A3E4858}" dt="2021-05-03T08:02:20.197" v="0" actId="47"/>
        <pc:sldMkLst>
          <pc:docMk/>
          <pc:sldMk cId="3950953867" sldId="1946"/>
        </pc:sldMkLst>
      </pc:sldChg>
      <pc:sldChg chg="del">
        <pc:chgData name="Aurelien Domont" userId="6da7715ce44349b3" providerId="LiveId" clId="{C523CB9D-DE17-4F66-BAA5-E2467A3E4858}" dt="2021-05-03T08:02:20.197" v="0" actId="47"/>
        <pc:sldMkLst>
          <pc:docMk/>
          <pc:sldMk cId="1632976083" sldId="1947"/>
        </pc:sldMkLst>
      </pc:sldChg>
      <pc:sldChg chg="del">
        <pc:chgData name="Aurelien Domont" userId="6da7715ce44349b3" providerId="LiveId" clId="{C523CB9D-DE17-4F66-BAA5-E2467A3E4858}" dt="2021-05-03T08:02:20.197" v="0" actId="47"/>
        <pc:sldMkLst>
          <pc:docMk/>
          <pc:sldMk cId="3026069399" sldId="1948"/>
        </pc:sldMkLst>
      </pc:sldChg>
      <pc:sldChg chg="del">
        <pc:chgData name="Aurelien Domont" userId="6da7715ce44349b3" providerId="LiveId" clId="{C523CB9D-DE17-4F66-BAA5-E2467A3E4858}" dt="2021-05-03T08:02:20.197" v="0" actId="47"/>
        <pc:sldMkLst>
          <pc:docMk/>
          <pc:sldMk cId="301689330" sldId="1949"/>
        </pc:sldMkLst>
      </pc:sldChg>
      <pc:sldChg chg="del">
        <pc:chgData name="Aurelien Domont" userId="6da7715ce44349b3" providerId="LiveId" clId="{C523CB9D-DE17-4F66-BAA5-E2467A3E4858}" dt="2021-05-03T08:02:20.197" v="0" actId="47"/>
        <pc:sldMkLst>
          <pc:docMk/>
          <pc:sldMk cId="2802637173" sldId="1950"/>
        </pc:sldMkLst>
      </pc:sldChg>
      <pc:sldChg chg="del">
        <pc:chgData name="Aurelien Domont" userId="6da7715ce44349b3" providerId="LiveId" clId="{C523CB9D-DE17-4F66-BAA5-E2467A3E4858}" dt="2021-05-03T08:02:20.197" v="0" actId="47"/>
        <pc:sldMkLst>
          <pc:docMk/>
          <pc:sldMk cId="799750334" sldId="1951"/>
        </pc:sldMkLst>
      </pc:sldChg>
      <pc:sldChg chg="del">
        <pc:chgData name="Aurelien Domont" userId="6da7715ce44349b3" providerId="LiveId" clId="{C523CB9D-DE17-4F66-BAA5-E2467A3E4858}" dt="2021-05-03T08:02:20.197" v="0" actId="47"/>
        <pc:sldMkLst>
          <pc:docMk/>
          <pc:sldMk cId="2365333669" sldId="1952"/>
        </pc:sldMkLst>
      </pc:sldChg>
      <pc:sldChg chg="del">
        <pc:chgData name="Aurelien Domont" userId="6da7715ce44349b3" providerId="LiveId" clId="{C523CB9D-DE17-4F66-BAA5-E2467A3E4858}" dt="2021-05-03T08:02:20.197" v="0" actId="47"/>
        <pc:sldMkLst>
          <pc:docMk/>
          <pc:sldMk cId="931823183" sldId="1953"/>
        </pc:sldMkLst>
      </pc:sldChg>
      <pc:sldChg chg="del">
        <pc:chgData name="Aurelien Domont" userId="6da7715ce44349b3" providerId="LiveId" clId="{C523CB9D-DE17-4F66-BAA5-E2467A3E4858}" dt="2021-05-03T08:02:20.197" v="0" actId="47"/>
        <pc:sldMkLst>
          <pc:docMk/>
          <pc:sldMk cId="636448820" sldId="1954"/>
        </pc:sldMkLst>
      </pc:sldChg>
      <pc:sldChg chg="del">
        <pc:chgData name="Aurelien Domont" userId="6da7715ce44349b3" providerId="LiveId" clId="{C523CB9D-DE17-4F66-BAA5-E2467A3E4858}" dt="2021-05-03T08:02:20.197" v="0" actId="47"/>
        <pc:sldMkLst>
          <pc:docMk/>
          <pc:sldMk cId="660112904" sldId="1955"/>
        </pc:sldMkLst>
      </pc:sldChg>
      <pc:sldChg chg="del">
        <pc:chgData name="Aurelien Domont" userId="6da7715ce44349b3" providerId="LiveId" clId="{C523CB9D-DE17-4F66-BAA5-E2467A3E4858}" dt="2021-05-03T08:02:20.197" v="0" actId="47"/>
        <pc:sldMkLst>
          <pc:docMk/>
          <pc:sldMk cId="387956599" sldId="1956"/>
        </pc:sldMkLst>
      </pc:sldChg>
      <pc:sldChg chg="del">
        <pc:chgData name="Aurelien Domont" userId="6da7715ce44349b3" providerId="LiveId" clId="{C523CB9D-DE17-4F66-BAA5-E2467A3E4858}" dt="2021-05-03T08:02:20.197" v="0" actId="47"/>
        <pc:sldMkLst>
          <pc:docMk/>
          <pc:sldMk cId="2207806883" sldId="1957"/>
        </pc:sldMkLst>
      </pc:sldChg>
      <pc:sldChg chg="del">
        <pc:chgData name="Aurelien Domont" userId="6da7715ce44349b3" providerId="LiveId" clId="{C523CB9D-DE17-4F66-BAA5-E2467A3E4858}" dt="2021-05-03T08:02:20.197" v="0" actId="47"/>
        <pc:sldMkLst>
          <pc:docMk/>
          <pc:sldMk cId="7362875" sldId="1958"/>
        </pc:sldMkLst>
      </pc:sldChg>
      <pc:sldChg chg="del">
        <pc:chgData name="Aurelien Domont" userId="6da7715ce44349b3" providerId="LiveId" clId="{C523CB9D-DE17-4F66-BAA5-E2467A3E4858}" dt="2021-05-03T08:02:20.197" v="0" actId="47"/>
        <pc:sldMkLst>
          <pc:docMk/>
          <pc:sldMk cId="1662162763" sldId="1959"/>
        </pc:sldMkLst>
      </pc:sldChg>
      <pc:sldChg chg="del">
        <pc:chgData name="Aurelien Domont" userId="6da7715ce44349b3" providerId="LiveId" clId="{C523CB9D-DE17-4F66-BAA5-E2467A3E4858}" dt="2021-05-03T08:02:20.197" v="0" actId="47"/>
        <pc:sldMkLst>
          <pc:docMk/>
          <pc:sldMk cId="1380287118" sldId="1960"/>
        </pc:sldMkLst>
      </pc:sldChg>
      <pc:sldChg chg="del">
        <pc:chgData name="Aurelien Domont" userId="6da7715ce44349b3" providerId="LiveId" clId="{C523CB9D-DE17-4F66-BAA5-E2467A3E4858}" dt="2021-05-03T08:02:20.197" v="0" actId="47"/>
        <pc:sldMkLst>
          <pc:docMk/>
          <pc:sldMk cId="2862939476" sldId="1961"/>
        </pc:sldMkLst>
      </pc:sldChg>
      <pc:sldChg chg="del">
        <pc:chgData name="Aurelien Domont" userId="6da7715ce44349b3" providerId="LiveId" clId="{C523CB9D-DE17-4F66-BAA5-E2467A3E4858}" dt="2021-05-03T08:02:20.197" v="0" actId="47"/>
        <pc:sldMkLst>
          <pc:docMk/>
          <pc:sldMk cId="1371325009" sldId="1963"/>
        </pc:sldMkLst>
      </pc:sldChg>
      <pc:sldChg chg="del">
        <pc:chgData name="Aurelien Domont" userId="6da7715ce44349b3" providerId="LiveId" clId="{C523CB9D-DE17-4F66-BAA5-E2467A3E4858}" dt="2021-05-03T08:02:20.197" v="0" actId="47"/>
        <pc:sldMkLst>
          <pc:docMk/>
          <pc:sldMk cId="2434730998" sldId="1964"/>
        </pc:sldMkLst>
      </pc:sldChg>
      <pc:sldChg chg="del">
        <pc:chgData name="Aurelien Domont" userId="6da7715ce44349b3" providerId="LiveId" clId="{C523CB9D-DE17-4F66-BAA5-E2467A3E4858}" dt="2021-05-03T08:02:20.197" v="0" actId="47"/>
        <pc:sldMkLst>
          <pc:docMk/>
          <pc:sldMk cId="2118611170" sldId="1965"/>
        </pc:sldMkLst>
      </pc:sldChg>
      <pc:sldChg chg="del">
        <pc:chgData name="Aurelien Domont" userId="6da7715ce44349b3" providerId="LiveId" clId="{C523CB9D-DE17-4F66-BAA5-E2467A3E4858}" dt="2021-05-03T08:02:20.197" v="0" actId="47"/>
        <pc:sldMkLst>
          <pc:docMk/>
          <pc:sldMk cId="708328687" sldId="1966"/>
        </pc:sldMkLst>
      </pc:sldChg>
      <pc:sldChg chg="del">
        <pc:chgData name="Aurelien Domont" userId="6da7715ce44349b3" providerId="LiveId" clId="{C523CB9D-DE17-4F66-BAA5-E2467A3E4858}" dt="2021-05-03T08:02:20.197" v="0" actId="47"/>
        <pc:sldMkLst>
          <pc:docMk/>
          <pc:sldMk cId="3081941897" sldId="1967"/>
        </pc:sldMkLst>
      </pc:sldChg>
      <pc:sldChg chg="del">
        <pc:chgData name="Aurelien Domont" userId="6da7715ce44349b3" providerId="LiveId" clId="{C523CB9D-DE17-4F66-BAA5-E2467A3E4858}" dt="2021-05-03T08:02:20.197" v="0" actId="47"/>
        <pc:sldMkLst>
          <pc:docMk/>
          <pc:sldMk cId="3440858440" sldId="1968"/>
        </pc:sldMkLst>
      </pc:sldChg>
      <pc:sldChg chg="del">
        <pc:chgData name="Aurelien Domont" userId="6da7715ce44349b3" providerId="LiveId" clId="{C523CB9D-DE17-4F66-BAA5-E2467A3E4858}" dt="2021-05-03T08:02:20.197" v="0" actId="47"/>
        <pc:sldMkLst>
          <pc:docMk/>
          <pc:sldMk cId="3954766657" sldId="1969"/>
        </pc:sldMkLst>
      </pc:sldChg>
      <pc:sldChg chg="del">
        <pc:chgData name="Aurelien Domont" userId="6da7715ce44349b3" providerId="LiveId" clId="{C523CB9D-DE17-4F66-BAA5-E2467A3E4858}" dt="2021-05-03T08:02:20.197" v="0" actId="47"/>
        <pc:sldMkLst>
          <pc:docMk/>
          <pc:sldMk cId="668275467" sldId="1970"/>
        </pc:sldMkLst>
      </pc:sldChg>
      <pc:sldChg chg="del">
        <pc:chgData name="Aurelien Domont" userId="6da7715ce44349b3" providerId="LiveId" clId="{C523CB9D-DE17-4F66-BAA5-E2467A3E4858}" dt="2021-05-03T08:02:20.197" v="0" actId="47"/>
        <pc:sldMkLst>
          <pc:docMk/>
          <pc:sldMk cId="529194852" sldId="1971"/>
        </pc:sldMkLst>
      </pc:sldChg>
      <pc:sldChg chg="del">
        <pc:chgData name="Aurelien Domont" userId="6da7715ce44349b3" providerId="LiveId" clId="{C523CB9D-DE17-4F66-BAA5-E2467A3E4858}" dt="2021-05-03T08:02:20.197" v="0" actId="47"/>
        <pc:sldMkLst>
          <pc:docMk/>
          <pc:sldMk cId="2410991361" sldId="1972"/>
        </pc:sldMkLst>
      </pc:sldChg>
      <pc:sldChg chg="del">
        <pc:chgData name="Aurelien Domont" userId="6da7715ce44349b3" providerId="LiveId" clId="{C523CB9D-DE17-4F66-BAA5-E2467A3E4858}" dt="2021-05-03T08:02:20.197" v="0" actId="47"/>
        <pc:sldMkLst>
          <pc:docMk/>
          <pc:sldMk cId="2653177920" sldId="1973"/>
        </pc:sldMkLst>
      </pc:sldChg>
      <pc:sldChg chg="del">
        <pc:chgData name="Aurelien Domont" userId="6da7715ce44349b3" providerId="LiveId" clId="{C523CB9D-DE17-4F66-BAA5-E2467A3E4858}" dt="2021-05-03T08:02:20.197" v="0" actId="47"/>
        <pc:sldMkLst>
          <pc:docMk/>
          <pc:sldMk cId="1373862011" sldId="1974"/>
        </pc:sldMkLst>
      </pc:sldChg>
      <pc:sldChg chg="del">
        <pc:chgData name="Aurelien Domont" userId="6da7715ce44349b3" providerId="LiveId" clId="{C523CB9D-DE17-4F66-BAA5-E2467A3E4858}" dt="2021-05-03T08:02:20.197" v="0" actId="47"/>
        <pc:sldMkLst>
          <pc:docMk/>
          <pc:sldMk cId="2119972109" sldId="1975"/>
        </pc:sldMkLst>
      </pc:sldChg>
      <pc:sldChg chg="del">
        <pc:chgData name="Aurelien Domont" userId="6da7715ce44349b3" providerId="LiveId" clId="{C523CB9D-DE17-4F66-BAA5-E2467A3E4858}" dt="2021-05-03T08:02:20.197" v="0" actId="47"/>
        <pc:sldMkLst>
          <pc:docMk/>
          <pc:sldMk cId="2078645186" sldId="1976"/>
        </pc:sldMkLst>
      </pc:sldChg>
      <pc:sldChg chg="del">
        <pc:chgData name="Aurelien Domont" userId="6da7715ce44349b3" providerId="LiveId" clId="{C523CB9D-DE17-4F66-BAA5-E2467A3E4858}" dt="2021-05-03T08:02:20.197" v="0" actId="47"/>
        <pc:sldMkLst>
          <pc:docMk/>
          <pc:sldMk cId="2474191175" sldId="1977"/>
        </pc:sldMkLst>
      </pc:sldChg>
      <pc:sldChg chg="del">
        <pc:chgData name="Aurelien Domont" userId="6da7715ce44349b3" providerId="LiveId" clId="{C523CB9D-DE17-4F66-BAA5-E2467A3E4858}" dt="2021-05-03T08:02:20.197" v="0" actId="47"/>
        <pc:sldMkLst>
          <pc:docMk/>
          <pc:sldMk cId="4089601017" sldId="1978"/>
        </pc:sldMkLst>
      </pc:sldChg>
      <pc:sldChg chg="del">
        <pc:chgData name="Aurelien Domont" userId="6da7715ce44349b3" providerId="LiveId" clId="{C523CB9D-DE17-4F66-BAA5-E2467A3E4858}" dt="2021-05-03T08:02:20.197" v="0" actId="47"/>
        <pc:sldMkLst>
          <pc:docMk/>
          <pc:sldMk cId="2403768916" sldId="1979"/>
        </pc:sldMkLst>
      </pc:sldChg>
      <pc:sldChg chg="del">
        <pc:chgData name="Aurelien Domont" userId="6da7715ce44349b3" providerId="LiveId" clId="{C523CB9D-DE17-4F66-BAA5-E2467A3E4858}" dt="2021-05-03T08:02:20.197" v="0" actId="47"/>
        <pc:sldMkLst>
          <pc:docMk/>
          <pc:sldMk cId="3828206272" sldId="1980"/>
        </pc:sldMkLst>
      </pc:sldChg>
      <pc:sldChg chg="del">
        <pc:chgData name="Aurelien Domont" userId="6da7715ce44349b3" providerId="LiveId" clId="{C523CB9D-DE17-4F66-BAA5-E2467A3E4858}" dt="2021-05-03T08:02:20.197" v="0" actId="47"/>
        <pc:sldMkLst>
          <pc:docMk/>
          <pc:sldMk cId="1691820959" sldId="1981"/>
        </pc:sldMkLst>
      </pc:sldChg>
      <pc:sldChg chg="del">
        <pc:chgData name="Aurelien Domont" userId="6da7715ce44349b3" providerId="LiveId" clId="{C523CB9D-DE17-4F66-BAA5-E2467A3E4858}" dt="2021-05-03T08:02:20.197" v="0" actId="47"/>
        <pc:sldMkLst>
          <pc:docMk/>
          <pc:sldMk cId="3425621628" sldId="1982"/>
        </pc:sldMkLst>
      </pc:sldChg>
      <pc:sldChg chg="del">
        <pc:chgData name="Aurelien Domont" userId="6da7715ce44349b3" providerId="LiveId" clId="{C523CB9D-DE17-4F66-BAA5-E2467A3E4858}" dt="2021-05-03T08:02:20.197" v="0" actId="47"/>
        <pc:sldMkLst>
          <pc:docMk/>
          <pc:sldMk cId="978935005" sldId="1983"/>
        </pc:sldMkLst>
      </pc:sldChg>
      <pc:sldChg chg="del">
        <pc:chgData name="Aurelien Domont" userId="6da7715ce44349b3" providerId="LiveId" clId="{C523CB9D-DE17-4F66-BAA5-E2467A3E4858}" dt="2021-05-03T08:02:20.197" v="0" actId="47"/>
        <pc:sldMkLst>
          <pc:docMk/>
          <pc:sldMk cId="2297949056" sldId="1984"/>
        </pc:sldMkLst>
      </pc:sldChg>
      <pc:sldChg chg="del">
        <pc:chgData name="Aurelien Domont" userId="6da7715ce44349b3" providerId="LiveId" clId="{C523CB9D-DE17-4F66-BAA5-E2467A3E4858}" dt="2021-05-03T08:02:20.197" v="0" actId="47"/>
        <pc:sldMkLst>
          <pc:docMk/>
          <pc:sldMk cId="1823605290" sldId="1985"/>
        </pc:sldMkLst>
      </pc:sldChg>
      <pc:sldChg chg="del">
        <pc:chgData name="Aurelien Domont" userId="6da7715ce44349b3" providerId="LiveId" clId="{C523CB9D-DE17-4F66-BAA5-E2467A3E4858}" dt="2021-05-03T08:02:20.197" v="0" actId="47"/>
        <pc:sldMkLst>
          <pc:docMk/>
          <pc:sldMk cId="1026744296" sldId="1986"/>
        </pc:sldMkLst>
      </pc:sldChg>
      <pc:sldChg chg="del">
        <pc:chgData name="Aurelien Domont" userId="6da7715ce44349b3" providerId="LiveId" clId="{C523CB9D-DE17-4F66-BAA5-E2467A3E4858}" dt="2021-05-03T08:02:20.197" v="0" actId="47"/>
        <pc:sldMkLst>
          <pc:docMk/>
          <pc:sldMk cId="1357942581" sldId="1987"/>
        </pc:sldMkLst>
      </pc:sldChg>
      <pc:sldChg chg="del">
        <pc:chgData name="Aurelien Domont" userId="6da7715ce44349b3" providerId="LiveId" clId="{C523CB9D-DE17-4F66-BAA5-E2467A3E4858}" dt="2021-05-03T08:02:20.197" v="0" actId="47"/>
        <pc:sldMkLst>
          <pc:docMk/>
          <pc:sldMk cId="1940386508" sldId="1988"/>
        </pc:sldMkLst>
      </pc:sldChg>
      <pc:sldChg chg="del">
        <pc:chgData name="Aurelien Domont" userId="6da7715ce44349b3" providerId="LiveId" clId="{C523CB9D-DE17-4F66-BAA5-E2467A3E4858}" dt="2021-05-03T08:02:20.197" v="0" actId="47"/>
        <pc:sldMkLst>
          <pc:docMk/>
          <pc:sldMk cId="2299758324" sldId="1989"/>
        </pc:sldMkLst>
      </pc:sldChg>
      <pc:sldChg chg="del">
        <pc:chgData name="Aurelien Domont" userId="6da7715ce44349b3" providerId="LiveId" clId="{C523CB9D-DE17-4F66-BAA5-E2467A3E4858}" dt="2021-05-03T08:02:20.197" v="0" actId="47"/>
        <pc:sldMkLst>
          <pc:docMk/>
          <pc:sldMk cId="1124419684" sldId="1990"/>
        </pc:sldMkLst>
      </pc:sldChg>
      <pc:sldChg chg="del">
        <pc:chgData name="Aurelien Domont" userId="6da7715ce44349b3" providerId="LiveId" clId="{C523CB9D-DE17-4F66-BAA5-E2467A3E4858}" dt="2021-05-03T08:02:20.197" v="0" actId="47"/>
        <pc:sldMkLst>
          <pc:docMk/>
          <pc:sldMk cId="205289071" sldId="1991"/>
        </pc:sldMkLst>
      </pc:sldChg>
      <pc:sldChg chg="del">
        <pc:chgData name="Aurelien Domont" userId="6da7715ce44349b3" providerId="LiveId" clId="{C523CB9D-DE17-4F66-BAA5-E2467A3E4858}" dt="2021-05-03T08:02:20.197" v="0" actId="47"/>
        <pc:sldMkLst>
          <pc:docMk/>
          <pc:sldMk cId="3239629277" sldId="1992"/>
        </pc:sldMkLst>
      </pc:sldChg>
      <pc:sldChg chg="del">
        <pc:chgData name="Aurelien Domont" userId="6da7715ce44349b3" providerId="LiveId" clId="{C523CB9D-DE17-4F66-BAA5-E2467A3E4858}" dt="2021-05-03T08:02:20.197" v="0" actId="47"/>
        <pc:sldMkLst>
          <pc:docMk/>
          <pc:sldMk cId="1752228771" sldId="1993"/>
        </pc:sldMkLst>
      </pc:sldChg>
      <pc:sldChg chg="del">
        <pc:chgData name="Aurelien Domont" userId="6da7715ce44349b3" providerId="LiveId" clId="{C523CB9D-DE17-4F66-BAA5-E2467A3E4858}" dt="2021-05-03T08:02:20.197" v="0" actId="47"/>
        <pc:sldMkLst>
          <pc:docMk/>
          <pc:sldMk cId="1158613024" sldId="1994"/>
        </pc:sldMkLst>
      </pc:sldChg>
      <pc:sldChg chg="del">
        <pc:chgData name="Aurelien Domont" userId="6da7715ce44349b3" providerId="LiveId" clId="{C523CB9D-DE17-4F66-BAA5-E2467A3E4858}" dt="2021-05-03T08:02:20.197" v="0" actId="47"/>
        <pc:sldMkLst>
          <pc:docMk/>
          <pc:sldMk cId="3526698175" sldId="1995"/>
        </pc:sldMkLst>
      </pc:sldChg>
      <pc:sldChg chg="del">
        <pc:chgData name="Aurelien Domont" userId="6da7715ce44349b3" providerId="LiveId" clId="{C523CB9D-DE17-4F66-BAA5-E2467A3E4858}" dt="2021-05-03T08:02:20.197" v="0" actId="47"/>
        <pc:sldMkLst>
          <pc:docMk/>
          <pc:sldMk cId="3049023689" sldId="1996"/>
        </pc:sldMkLst>
      </pc:sldChg>
      <pc:sldChg chg="del">
        <pc:chgData name="Aurelien Domont" userId="6da7715ce44349b3" providerId="LiveId" clId="{C523CB9D-DE17-4F66-BAA5-E2467A3E4858}" dt="2021-05-03T08:02:20.197" v="0" actId="47"/>
        <pc:sldMkLst>
          <pc:docMk/>
          <pc:sldMk cId="1142596438" sldId="1997"/>
        </pc:sldMkLst>
      </pc:sldChg>
      <pc:sldChg chg="del">
        <pc:chgData name="Aurelien Domont" userId="6da7715ce44349b3" providerId="LiveId" clId="{C523CB9D-DE17-4F66-BAA5-E2467A3E4858}" dt="2021-05-03T08:02:20.197" v="0" actId="47"/>
        <pc:sldMkLst>
          <pc:docMk/>
          <pc:sldMk cId="2206188045" sldId="1998"/>
        </pc:sldMkLst>
      </pc:sldChg>
      <pc:sldChg chg="del">
        <pc:chgData name="Aurelien Domont" userId="6da7715ce44349b3" providerId="LiveId" clId="{C523CB9D-DE17-4F66-BAA5-E2467A3E4858}" dt="2021-05-03T08:02:20.197" v="0" actId="47"/>
        <pc:sldMkLst>
          <pc:docMk/>
          <pc:sldMk cId="3928808042" sldId="1999"/>
        </pc:sldMkLst>
      </pc:sldChg>
      <pc:sldChg chg="del">
        <pc:chgData name="Aurelien Domont" userId="6da7715ce44349b3" providerId="LiveId" clId="{C523CB9D-DE17-4F66-BAA5-E2467A3E4858}" dt="2021-05-03T08:02:20.197" v="0" actId="47"/>
        <pc:sldMkLst>
          <pc:docMk/>
          <pc:sldMk cId="3600611330" sldId="2000"/>
        </pc:sldMkLst>
      </pc:sldChg>
      <pc:sldChg chg="del">
        <pc:chgData name="Aurelien Domont" userId="6da7715ce44349b3" providerId="LiveId" clId="{C523CB9D-DE17-4F66-BAA5-E2467A3E4858}" dt="2021-05-03T08:02:20.197" v="0" actId="47"/>
        <pc:sldMkLst>
          <pc:docMk/>
          <pc:sldMk cId="494454371" sldId="2001"/>
        </pc:sldMkLst>
      </pc:sldChg>
      <pc:sldChg chg="del">
        <pc:chgData name="Aurelien Domont" userId="6da7715ce44349b3" providerId="LiveId" clId="{C523CB9D-DE17-4F66-BAA5-E2467A3E4858}" dt="2021-05-03T08:02:20.197" v="0" actId="47"/>
        <pc:sldMkLst>
          <pc:docMk/>
          <pc:sldMk cId="3160285512" sldId="2002"/>
        </pc:sldMkLst>
      </pc:sldChg>
      <pc:sldChg chg="del">
        <pc:chgData name="Aurelien Domont" userId="6da7715ce44349b3" providerId="LiveId" clId="{C523CB9D-DE17-4F66-BAA5-E2467A3E4858}" dt="2021-05-03T08:02:20.197" v="0" actId="47"/>
        <pc:sldMkLst>
          <pc:docMk/>
          <pc:sldMk cId="2011482222" sldId="2003"/>
        </pc:sldMkLst>
      </pc:sldChg>
      <pc:sldChg chg="del">
        <pc:chgData name="Aurelien Domont" userId="6da7715ce44349b3" providerId="LiveId" clId="{C523CB9D-DE17-4F66-BAA5-E2467A3E4858}" dt="2021-05-03T08:02:20.197" v="0" actId="47"/>
        <pc:sldMkLst>
          <pc:docMk/>
          <pc:sldMk cId="235415864" sldId="2004"/>
        </pc:sldMkLst>
      </pc:sldChg>
      <pc:sldChg chg="del">
        <pc:chgData name="Aurelien Domont" userId="6da7715ce44349b3" providerId="LiveId" clId="{C523CB9D-DE17-4F66-BAA5-E2467A3E4858}" dt="2021-05-03T08:02:20.197" v="0" actId="47"/>
        <pc:sldMkLst>
          <pc:docMk/>
          <pc:sldMk cId="673232207" sldId="2005"/>
        </pc:sldMkLst>
      </pc:sldChg>
      <pc:sldChg chg="del">
        <pc:chgData name="Aurelien Domont" userId="6da7715ce44349b3" providerId="LiveId" clId="{C523CB9D-DE17-4F66-BAA5-E2467A3E4858}" dt="2021-05-03T08:02:20.197" v="0" actId="47"/>
        <pc:sldMkLst>
          <pc:docMk/>
          <pc:sldMk cId="539105764" sldId="2006"/>
        </pc:sldMkLst>
      </pc:sldChg>
      <pc:sldChg chg="del">
        <pc:chgData name="Aurelien Domont" userId="6da7715ce44349b3" providerId="LiveId" clId="{C523CB9D-DE17-4F66-BAA5-E2467A3E4858}" dt="2021-05-03T08:02:20.197" v="0" actId="47"/>
        <pc:sldMkLst>
          <pc:docMk/>
          <pc:sldMk cId="1585643901" sldId="2007"/>
        </pc:sldMkLst>
      </pc:sldChg>
      <pc:sldChg chg="del">
        <pc:chgData name="Aurelien Domont" userId="6da7715ce44349b3" providerId="LiveId" clId="{C523CB9D-DE17-4F66-BAA5-E2467A3E4858}" dt="2021-05-03T08:02:20.197" v="0" actId="47"/>
        <pc:sldMkLst>
          <pc:docMk/>
          <pc:sldMk cId="153376507" sldId="2008"/>
        </pc:sldMkLst>
      </pc:sldChg>
      <pc:sldChg chg="del">
        <pc:chgData name="Aurelien Domont" userId="6da7715ce44349b3" providerId="LiveId" clId="{C523CB9D-DE17-4F66-BAA5-E2467A3E4858}" dt="2021-05-03T08:02:20.197" v="0" actId="47"/>
        <pc:sldMkLst>
          <pc:docMk/>
          <pc:sldMk cId="938136842" sldId="2010"/>
        </pc:sldMkLst>
      </pc:sldChg>
      <pc:sldChg chg="del">
        <pc:chgData name="Aurelien Domont" userId="6da7715ce44349b3" providerId="LiveId" clId="{C523CB9D-DE17-4F66-BAA5-E2467A3E4858}" dt="2021-05-03T08:02:20.197" v="0" actId="47"/>
        <pc:sldMkLst>
          <pc:docMk/>
          <pc:sldMk cId="2968255840" sldId="2011"/>
        </pc:sldMkLst>
      </pc:sldChg>
      <pc:sldChg chg="del">
        <pc:chgData name="Aurelien Domont" userId="6da7715ce44349b3" providerId="LiveId" clId="{C523CB9D-DE17-4F66-BAA5-E2467A3E4858}" dt="2021-05-03T08:02:20.197" v="0" actId="47"/>
        <pc:sldMkLst>
          <pc:docMk/>
          <pc:sldMk cId="2300727758" sldId="2012"/>
        </pc:sldMkLst>
      </pc:sldChg>
      <pc:sldChg chg="del">
        <pc:chgData name="Aurelien Domont" userId="6da7715ce44349b3" providerId="LiveId" clId="{C523CB9D-DE17-4F66-BAA5-E2467A3E4858}" dt="2021-05-03T08:02:20.197" v="0" actId="47"/>
        <pc:sldMkLst>
          <pc:docMk/>
          <pc:sldMk cId="2690714282" sldId="2013"/>
        </pc:sldMkLst>
      </pc:sldChg>
      <pc:sldChg chg="del">
        <pc:chgData name="Aurelien Domont" userId="6da7715ce44349b3" providerId="LiveId" clId="{C523CB9D-DE17-4F66-BAA5-E2467A3E4858}" dt="2021-05-03T08:02:20.197" v="0" actId="47"/>
        <pc:sldMkLst>
          <pc:docMk/>
          <pc:sldMk cId="2140429196" sldId="2014"/>
        </pc:sldMkLst>
      </pc:sldChg>
      <pc:sldChg chg="del">
        <pc:chgData name="Aurelien Domont" userId="6da7715ce44349b3" providerId="LiveId" clId="{C523CB9D-DE17-4F66-BAA5-E2467A3E4858}" dt="2021-05-03T08:02:20.197" v="0" actId="47"/>
        <pc:sldMkLst>
          <pc:docMk/>
          <pc:sldMk cId="1874727100" sldId="2015"/>
        </pc:sldMkLst>
      </pc:sldChg>
      <pc:sldChg chg="del">
        <pc:chgData name="Aurelien Domont" userId="6da7715ce44349b3" providerId="LiveId" clId="{C523CB9D-DE17-4F66-BAA5-E2467A3E4858}" dt="2021-05-03T08:02:20.197" v="0" actId="47"/>
        <pc:sldMkLst>
          <pc:docMk/>
          <pc:sldMk cId="2219283537" sldId="2016"/>
        </pc:sldMkLst>
      </pc:sldChg>
      <pc:sldChg chg="del">
        <pc:chgData name="Aurelien Domont" userId="6da7715ce44349b3" providerId="LiveId" clId="{C523CB9D-DE17-4F66-BAA5-E2467A3E4858}" dt="2021-05-03T08:02:20.197" v="0" actId="47"/>
        <pc:sldMkLst>
          <pc:docMk/>
          <pc:sldMk cId="786852373" sldId="2017"/>
        </pc:sldMkLst>
      </pc:sldChg>
      <pc:sldChg chg="del">
        <pc:chgData name="Aurelien Domont" userId="6da7715ce44349b3" providerId="LiveId" clId="{C523CB9D-DE17-4F66-BAA5-E2467A3E4858}" dt="2021-05-03T08:02:20.197" v="0" actId="47"/>
        <pc:sldMkLst>
          <pc:docMk/>
          <pc:sldMk cId="1850178084" sldId="2018"/>
        </pc:sldMkLst>
      </pc:sldChg>
      <pc:sldChg chg="del">
        <pc:chgData name="Aurelien Domont" userId="6da7715ce44349b3" providerId="LiveId" clId="{C523CB9D-DE17-4F66-BAA5-E2467A3E4858}" dt="2021-05-03T08:02:20.197" v="0" actId="47"/>
        <pc:sldMkLst>
          <pc:docMk/>
          <pc:sldMk cId="1391445569" sldId="2019"/>
        </pc:sldMkLst>
      </pc:sldChg>
      <pc:sldChg chg="del">
        <pc:chgData name="Aurelien Domont" userId="6da7715ce44349b3" providerId="LiveId" clId="{C523CB9D-DE17-4F66-BAA5-E2467A3E4858}" dt="2021-05-03T08:02:20.197" v="0" actId="47"/>
        <pc:sldMkLst>
          <pc:docMk/>
          <pc:sldMk cId="833432062" sldId="2020"/>
        </pc:sldMkLst>
      </pc:sldChg>
      <pc:sldChg chg="del">
        <pc:chgData name="Aurelien Domont" userId="6da7715ce44349b3" providerId="LiveId" clId="{C523CB9D-DE17-4F66-BAA5-E2467A3E4858}" dt="2021-05-03T08:02:20.197" v="0" actId="47"/>
        <pc:sldMkLst>
          <pc:docMk/>
          <pc:sldMk cId="1884153820" sldId="2021"/>
        </pc:sldMkLst>
      </pc:sldChg>
      <pc:sldChg chg="del">
        <pc:chgData name="Aurelien Domont" userId="6da7715ce44349b3" providerId="LiveId" clId="{C523CB9D-DE17-4F66-BAA5-E2467A3E4858}" dt="2021-05-03T08:02:20.197" v="0" actId="47"/>
        <pc:sldMkLst>
          <pc:docMk/>
          <pc:sldMk cId="3266627109" sldId="2022"/>
        </pc:sldMkLst>
      </pc:sldChg>
      <pc:sldChg chg="del">
        <pc:chgData name="Aurelien Domont" userId="6da7715ce44349b3" providerId="LiveId" clId="{C523CB9D-DE17-4F66-BAA5-E2467A3E4858}" dt="2021-05-03T08:02:20.197" v="0" actId="47"/>
        <pc:sldMkLst>
          <pc:docMk/>
          <pc:sldMk cId="1720365225" sldId="2023"/>
        </pc:sldMkLst>
      </pc:sldChg>
      <pc:sldChg chg="del">
        <pc:chgData name="Aurelien Domont" userId="6da7715ce44349b3" providerId="LiveId" clId="{C523CB9D-DE17-4F66-BAA5-E2467A3E4858}" dt="2021-05-03T08:02:20.197" v="0" actId="47"/>
        <pc:sldMkLst>
          <pc:docMk/>
          <pc:sldMk cId="2200437321" sldId="2024"/>
        </pc:sldMkLst>
      </pc:sldChg>
      <pc:sldChg chg="del">
        <pc:chgData name="Aurelien Domont" userId="6da7715ce44349b3" providerId="LiveId" clId="{C523CB9D-DE17-4F66-BAA5-E2467A3E4858}" dt="2021-05-03T08:02:20.197" v="0" actId="47"/>
        <pc:sldMkLst>
          <pc:docMk/>
          <pc:sldMk cId="2510494898" sldId="2025"/>
        </pc:sldMkLst>
      </pc:sldChg>
      <pc:sldChg chg="del">
        <pc:chgData name="Aurelien Domont" userId="6da7715ce44349b3" providerId="LiveId" clId="{C523CB9D-DE17-4F66-BAA5-E2467A3E4858}" dt="2021-05-03T08:02:20.197" v="0" actId="47"/>
        <pc:sldMkLst>
          <pc:docMk/>
          <pc:sldMk cId="4191176648" sldId="2026"/>
        </pc:sldMkLst>
      </pc:sldChg>
      <pc:sldChg chg="del">
        <pc:chgData name="Aurelien Domont" userId="6da7715ce44349b3" providerId="LiveId" clId="{C523CB9D-DE17-4F66-BAA5-E2467A3E4858}" dt="2021-05-03T08:02:20.197" v="0" actId="47"/>
        <pc:sldMkLst>
          <pc:docMk/>
          <pc:sldMk cId="4065434126" sldId="2027"/>
        </pc:sldMkLst>
      </pc:sldChg>
      <pc:sldChg chg="del">
        <pc:chgData name="Aurelien Domont" userId="6da7715ce44349b3" providerId="LiveId" clId="{C523CB9D-DE17-4F66-BAA5-E2467A3E4858}" dt="2021-05-03T08:02:20.197" v="0" actId="47"/>
        <pc:sldMkLst>
          <pc:docMk/>
          <pc:sldMk cId="724289588" sldId="2028"/>
        </pc:sldMkLst>
      </pc:sldChg>
      <pc:sldChg chg="del">
        <pc:chgData name="Aurelien Domont" userId="6da7715ce44349b3" providerId="LiveId" clId="{C523CB9D-DE17-4F66-BAA5-E2467A3E4858}" dt="2021-05-03T08:02:20.197" v="0" actId="47"/>
        <pc:sldMkLst>
          <pc:docMk/>
          <pc:sldMk cId="1151893028" sldId="2029"/>
        </pc:sldMkLst>
      </pc:sldChg>
      <pc:sldChg chg="del">
        <pc:chgData name="Aurelien Domont" userId="6da7715ce44349b3" providerId="LiveId" clId="{C523CB9D-DE17-4F66-BAA5-E2467A3E4858}" dt="2021-05-03T08:02:20.197" v="0" actId="47"/>
        <pc:sldMkLst>
          <pc:docMk/>
          <pc:sldMk cId="3518638678" sldId="2030"/>
        </pc:sldMkLst>
      </pc:sldChg>
      <pc:sldChg chg="del">
        <pc:chgData name="Aurelien Domont" userId="6da7715ce44349b3" providerId="LiveId" clId="{C523CB9D-DE17-4F66-BAA5-E2467A3E4858}" dt="2021-05-03T08:02:20.197" v="0" actId="47"/>
        <pc:sldMkLst>
          <pc:docMk/>
          <pc:sldMk cId="3867219056" sldId="2031"/>
        </pc:sldMkLst>
      </pc:sldChg>
      <pc:sldChg chg="del">
        <pc:chgData name="Aurelien Domont" userId="6da7715ce44349b3" providerId="LiveId" clId="{C523CB9D-DE17-4F66-BAA5-E2467A3E4858}" dt="2021-05-03T08:02:20.197" v="0" actId="47"/>
        <pc:sldMkLst>
          <pc:docMk/>
          <pc:sldMk cId="2964978532" sldId="2032"/>
        </pc:sldMkLst>
      </pc:sldChg>
      <pc:sldChg chg="del">
        <pc:chgData name="Aurelien Domont" userId="6da7715ce44349b3" providerId="LiveId" clId="{C523CB9D-DE17-4F66-BAA5-E2467A3E4858}" dt="2021-05-03T08:02:45.439" v="1" actId="47"/>
        <pc:sldMkLst>
          <pc:docMk/>
          <pc:sldMk cId="1692242364" sldId="2033"/>
        </pc:sldMkLst>
      </pc:sldChg>
    </pc:docChg>
  </pc:docChgLst>
  <pc:docChgLst>
    <pc:chgData name="Aurelien Domont" userId="6da7715ce44349b3" providerId="LiveId" clId="{41886732-AD5E-4E93-B5FC-BBFC97E379FF}"/>
    <pc:docChg chg="custSel addSld delSld modSld">
      <pc:chgData name="Aurelien Domont" userId="6da7715ce44349b3" providerId="LiveId" clId="{41886732-AD5E-4E93-B5FC-BBFC97E379FF}" dt="2021-09-13T23:33:10.635" v="9"/>
      <pc:docMkLst>
        <pc:docMk/>
      </pc:docMkLst>
      <pc:sldChg chg="modSp">
        <pc:chgData name="Aurelien Domont" userId="6da7715ce44349b3" providerId="LiveId" clId="{41886732-AD5E-4E93-B5FC-BBFC97E379FF}" dt="2021-09-13T23:33:10.635" v="9"/>
        <pc:sldMkLst>
          <pc:docMk/>
          <pc:sldMk cId="204042741" sldId="1522"/>
        </pc:sldMkLst>
        <pc:spChg chg="mod">
          <ac:chgData name="Aurelien Domont" userId="6da7715ce44349b3" providerId="LiveId" clId="{41886732-AD5E-4E93-B5FC-BBFC97E379FF}" dt="2021-09-13T23:33:10.635" v="9"/>
          <ac:spMkLst>
            <pc:docMk/>
            <pc:sldMk cId="204042741" sldId="1522"/>
            <ac:spMk id="14" creationId="{5EBC747D-5945-45B3-8CFA-456CA994E3D6}"/>
          </ac:spMkLst>
        </pc:spChg>
        <pc:spChg chg="mod">
          <ac:chgData name="Aurelien Domont" userId="6da7715ce44349b3" providerId="LiveId" clId="{41886732-AD5E-4E93-B5FC-BBFC97E379FF}" dt="2021-09-13T23:33:10.635" v="9"/>
          <ac:spMkLst>
            <pc:docMk/>
            <pc:sldMk cId="204042741" sldId="1522"/>
            <ac:spMk id="19" creationId="{48EE85AE-BB8C-45FE-9CBB-E5027341066D}"/>
          </ac:spMkLst>
        </pc:spChg>
        <pc:spChg chg="mod">
          <ac:chgData name="Aurelien Domont" userId="6da7715ce44349b3" providerId="LiveId" clId="{41886732-AD5E-4E93-B5FC-BBFC97E379FF}" dt="2021-09-13T23:33:10.635" v="9"/>
          <ac:spMkLst>
            <pc:docMk/>
            <pc:sldMk cId="204042741" sldId="1522"/>
            <ac:spMk id="20" creationId="{D564C25C-A61E-4ACF-B2BD-10913245DBC7}"/>
          </ac:spMkLst>
        </pc:spChg>
      </pc:sldChg>
      <pc:sldChg chg="modSp">
        <pc:chgData name="Aurelien Domont" userId="6da7715ce44349b3" providerId="LiveId" clId="{41886732-AD5E-4E93-B5FC-BBFC97E379FF}" dt="2021-09-13T23:33:10.635" v="9"/>
        <pc:sldMkLst>
          <pc:docMk/>
          <pc:sldMk cId="3770712690" sldId="1523"/>
        </pc:sldMkLst>
        <pc:spChg chg="mod">
          <ac:chgData name="Aurelien Domont" userId="6da7715ce44349b3" providerId="LiveId" clId="{41886732-AD5E-4E93-B5FC-BBFC97E379FF}" dt="2021-09-13T23:33:10.635" v="9"/>
          <ac:spMkLst>
            <pc:docMk/>
            <pc:sldMk cId="3770712690" sldId="1523"/>
            <ac:spMk id="29" creationId="{2E5FF3DF-F43C-4360-BD8A-9648F298ECAB}"/>
          </ac:spMkLst>
        </pc:spChg>
        <pc:spChg chg="mod">
          <ac:chgData name="Aurelien Domont" userId="6da7715ce44349b3" providerId="LiveId" clId="{41886732-AD5E-4E93-B5FC-BBFC97E379FF}" dt="2021-09-13T23:33:10.635" v="9"/>
          <ac:spMkLst>
            <pc:docMk/>
            <pc:sldMk cId="3770712690" sldId="1523"/>
            <ac:spMk id="33" creationId="{4A865C38-0262-48E2-879F-DFE3C26099FA}"/>
          </ac:spMkLst>
        </pc:spChg>
        <pc:spChg chg="mod">
          <ac:chgData name="Aurelien Domont" userId="6da7715ce44349b3" providerId="LiveId" clId="{41886732-AD5E-4E93-B5FC-BBFC97E379FF}" dt="2021-09-13T23:33:10.635" v="9"/>
          <ac:spMkLst>
            <pc:docMk/>
            <pc:sldMk cId="3770712690" sldId="1523"/>
            <ac:spMk id="34" creationId="{5728055F-1F20-45A1-9A11-FEF088532A1A}"/>
          </ac:spMkLst>
        </pc:spChg>
        <pc:spChg chg="mod">
          <ac:chgData name="Aurelien Domont" userId="6da7715ce44349b3" providerId="LiveId" clId="{41886732-AD5E-4E93-B5FC-BBFC97E379FF}" dt="2021-09-13T23:33:10.635" v="9"/>
          <ac:spMkLst>
            <pc:docMk/>
            <pc:sldMk cId="3770712690" sldId="1523"/>
            <ac:spMk id="35" creationId="{FB4AE5CA-EC58-4AC2-847B-6BAE351C40D6}"/>
          </ac:spMkLst>
        </pc:spChg>
      </pc:sldChg>
      <pc:sldChg chg="modSp">
        <pc:chgData name="Aurelien Domont" userId="6da7715ce44349b3" providerId="LiveId" clId="{41886732-AD5E-4E93-B5FC-BBFC97E379FF}" dt="2021-09-13T23:33:10.635" v="9"/>
        <pc:sldMkLst>
          <pc:docMk/>
          <pc:sldMk cId="3952879389" sldId="1524"/>
        </pc:sldMkLst>
        <pc:spChg chg="mod">
          <ac:chgData name="Aurelien Domont" userId="6da7715ce44349b3" providerId="LiveId" clId="{41886732-AD5E-4E93-B5FC-BBFC97E379FF}" dt="2021-09-13T23:33:10.635" v="9"/>
          <ac:spMkLst>
            <pc:docMk/>
            <pc:sldMk cId="3952879389" sldId="1524"/>
            <ac:spMk id="10" creationId="{BC6C6448-CEAB-4501-9D92-03F28A02E0EF}"/>
          </ac:spMkLst>
        </pc:spChg>
      </pc:sldChg>
      <pc:sldChg chg="modSp">
        <pc:chgData name="Aurelien Domont" userId="6da7715ce44349b3" providerId="LiveId" clId="{41886732-AD5E-4E93-B5FC-BBFC97E379FF}" dt="2021-09-13T23:33:10.635" v="9"/>
        <pc:sldMkLst>
          <pc:docMk/>
          <pc:sldMk cId="75080109" sldId="1609"/>
        </pc:sldMkLst>
        <pc:spChg chg="mod">
          <ac:chgData name="Aurelien Domont" userId="6da7715ce44349b3" providerId="LiveId" clId="{41886732-AD5E-4E93-B5FC-BBFC97E379FF}" dt="2021-09-13T23:33:10.635" v="9"/>
          <ac:spMkLst>
            <pc:docMk/>
            <pc:sldMk cId="75080109" sldId="1609"/>
            <ac:spMk id="61" creationId="{121E9487-0FC5-4CA5-B1C3-56E4B2CD1B1B}"/>
          </ac:spMkLst>
        </pc:spChg>
        <pc:spChg chg="mod">
          <ac:chgData name="Aurelien Domont" userId="6da7715ce44349b3" providerId="LiveId" clId="{41886732-AD5E-4E93-B5FC-BBFC97E379FF}" dt="2021-09-13T23:33:10.635" v="9"/>
          <ac:spMkLst>
            <pc:docMk/>
            <pc:sldMk cId="75080109" sldId="1609"/>
            <ac:spMk id="65" creationId="{3426088E-F57E-478B-B892-338B4CCCB194}"/>
          </ac:spMkLst>
        </pc:spChg>
        <pc:spChg chg="mod">
          <ac:chgData name="Aurelien Domont" userId="6da7715ce44349b3" providerId="LiveId" clId="{41886732-AD5E-4E93-B5FC-BBFC97E379FF}" dt="2021-09-13T23:33:10.635" v="9"/>
          <ac:spMkLst>
            <pc:docMk/>
            <pc:sldMk cId="75080109" sldId="1609"/>
            <ac:spMk id="66" creationId="{A65CBD14-1A2C-48D9-A3E8-667211C6D315}"/>
          </ac:spMkLst>
        </pc:spChg>
      </pc:sldChg>
      <pc:sldChg chg="modSp mod">
        <pc:chgData name="Aurelien Domont" userId="6da7715ce44349b3" providerId="LiveId" clId="{41886732-AD5E-4E93-B5FC-BBFC97E379FF}" dt="2021-07-16T04:22:57.045" v="6" actId="14100"/>
        <pc:sldMkLst>
          <pc:docMk/>
          <pc:sldMk cId="4262757208" sldId="1792"/>
        </pc:sldMkLst>
        <pc:spChg chg="mod">
          <ac:chgData name="Aurelien Domont" userId="6da7715ce44349b3" providerId="LiveId" clId="{41886732-AD5E-4E93-B5FC-BBFC97E379FF}" dt="2021-07-16T04:22:57.045" v="6" actId="14100"/>
          <ac:spMkLst>
            <pc:docMk/>
            <pc:sldMk cId="4262757208" sldId="1792"/>
            <ac:spMk id="17" creationId="{50252DA9-1955-4FEB-9EFC-CCAB81B44CF7}"/>
          </ac:spMkLst>
        </pc:spChg>
      </pc:sldChg>
      <pc:sldChg chg="addSp delSp modSp mod">
        <pc:chgData name="Aurelien Domont" userId="6da7715ce44349b3" providerId="LiveId" clId="{41886732-AD5E-4E93-B5FC-BBFC97E379FF}" dt="2021-07-16T04:22:34.160" v="3"/>
        <pc:sldMkLst>
          <pc:docMk/>
          <pc:sldMk cId="3261568431" sldId="2173"/>
        </pc:sldMkLst>
        <pc:spChg chg="del">
          <ac:chgData name="Aurelien Domont" userId="6da7715ce44349b3" providerId="LiveId" clId="{41886732-AD5E-4E93-B5FC-BBFC97E379FF}" dt="2021-07-16T04:22:33.966" v="2" actId="478"/>
          <ac:spMkLst>
            <pc:docMk/>
            <pc:sldMk cId="3261568431" sldId="2173"/>
            <ac:spMk id="38" creationId="{427E3F17-01E5-4E63-9787-F628EBF2CADB}"/>
          </ac:spMkLst>
        </pc:spChg>
        <pc:spChg chg="add mod">
          <ac:chgData name="Aurelien Domont" userId="6da7715ce44349b3" providerId="LiveId" clId="{41886732-AD5E-4E93-B5FC-BBFC97E379FF}" dt="2021-07-16T04:22:34.160" v="3"/>
          <ac:spMkLst>
            <pc:docMk/>
            <pc:sldMk cId="3261568431" sldId="2173"/>
            <ac:spMk id="39" creationId="{98C4C248-8479-47D6-BA34-6379D5928A6A}"/>
          </ac:spMkLst>
        </pc:spChg>
      </pc:sldChg>
      <pc:sldChg chg="modSp">
        <pc:chgData name="Aurelien Domont" userId="6da7715ce44349b3" providerId="LiveId" clId="{41886732-AD5E-4E93-B5FC-BBFC97E379FF}" dt="2021-07-09T03:37:58.891" v="1"/>
        <pc:sldMkLst>
          <pc:docMk/>
          <pc:sldMk cId="1110778063" sldId="2183"/>
        </pc:sldMkLst>
        <pc:spChg chg="mod">
          <ac:chgData name="Aurelien Domont" userId="6da7715ce44349b3" providerId="LiveId" clId="{41886732-AD5E-4E93-B5FC-BBFC97E379FF}" dt="2021-07-09T03:37:58.891" v="1"/>
          <ac:spMkLst>
            <pc:docMk/>
            <pc:sldMk cId="1110778063" sldId="2183"/>
            <ac:spMk id="26" creationId="{C340F2EE-BA16-482F-BFE4-F0465F9C2085}"/>
          </ac:spMkLst>
        </pc:spChg>
      </pc:sldChg>
      <pc:sldChg chg="del">
        <pc:chgData name="Aurelien Domont" userId="6da7715ce44349b3" providerId="LiveId" clId="{41886732-AD5E-4E93-B5FC-BBFC97E379FF}" dt="2021-07-16T05:08:25.182" v="8" actId="47"/>
        <pc:sldMkLst>
          <pc:docMk/>
          <pc:sldMk cId="4292960502" sldId="2184"/>
        </pc:sldMkLst>
      </pc:sldChg>
      <pc:sldChg chg="modSp">
        <pc:chgData name="Aurelien Domont" userId="6da7715ce44349b3" providerId="LiveId" clId="{41886732-AD5E-4E93-B5FC-BBFC97E379FF}" dt="2021-07-09T03:37:58.891" v="1"/>
        <pc:sldMkLst>
          <pc:docMk/>
          <pc:sldMk cId="2338111145" sldId="2213"/>
        </pc:sldMkLst>
        <pc:spChg chg="mod">
          <ac:chgData name="Aurelien Domont" userId="6da7715ce44349b3" providerId="LiveId" clId="{41886732-AD5E-4E93-B5FC-BBFC97E379FF}" dt="2021-07-09T03:37:58.891" v="1"/>
          <ac:spMkLst>
            <pc:docMk/>
            <pc:sldMk cId="2338111145" sldId="2213"/>
            <ac:spMk id="26" creationId="{C340F2EE-BA16-482F-BFE4-F0465F9C2085}"/>
          </ac:spMkLst>
        </pc:spChg>
      </pc:sldChg>
      <pc:sldChg chg="modSp">
        <pc:chgData name="Aurelien Domont" userId="6da7715ce44349b3" providerId="LiveId" clId="{41886732-AD5E-4E93-B5FC-BBFC97E379FF}" dt="2021-07-09T03:37:58.891" v="1"/>
        <pc:sldMkLst>
          <pc:docMk/>
          <pc:sldMk cId="3381246474" sldId="2214"/>
        </pc:sldMkLst>
        <pc:spChg chg="mod">
          <ac:chgData name="Aurelien Domont" userId="6da7715ce44349b3" providerId="LiveId" clId="{41886732-AD5E-4E93-B5FC-BBFC97E379FF}" dt="2021-07-09T03:37:58.891" v="1"/>
          <ac:spMkLst>
            <pc:docMk/>
            <pc:sldMk cId="3381246474" sldId="2214"/>
            <ac:spMk id="26" creationId="{C340F2EE-BA16-482F-BFE4-F0465F9C2085}"/>
          </ac:spMkLst>
        </pc:spChg>
      </pc:sldChg>
      <pc:sldChg chg="modSp">
        <pc:chgData name="Aurelien Domont" userId="6da7715ce44349b3" providerId="LiveId" clId="{41886732-AD5E-4E93-B5FC-BBFC97E379FF}" dt="2021-07-09T03:37:58.891" v="1"/>
        <pc:sldMkLst>
          <pc:docMk/>
          <pc:sldMk cId="1932670553" sldId="2215"/>
        </pc:sldMkLst>
        <pc:spChg chg="mod">
          <ac:chgData name="Aurelien Domont" userId="6da7715ce44349b3" providerId="LiveId" clId="{41886732-AD5E-4E93-B5FC-BBFC97E379FF}" dt="2021-07-09T03:37:58.891" v="1"/>
          <ac:spMkLst>
            <pc:docMk/>
            <pc:sldMk cId="1932670553" sldId="2215"/>
            <ac:spMk id="26" creationId="{C340F2EE-BA16-482F-BFE4-F0465F9C2085}"/>
          </ac:spMkLst>
        </pc:spChg>
      </pc:sldChg>
      <pc:sldChg chg="modSp">
        <pc:chgData name="Aurelien Domont" userId="6da7715ce44349b3" providerId="LiveId" clId="{41886732-AD5E-4E93-B5FC-BBFC97E379FF}" dt="2021-07-09T03:37:58.891" v="1"/>
        <pc:sldMkLst>
          <pc:docMk/>
          <pc:sldMk cId="2972339496" sldId="2218"/>
        </pc:sldMkLst>
        <pc:spChg chg="mod">
          <ac:chgData name="Aurelien Domont" userId="6da7715ce44349b3" providerId="LiveId" clId="{41886732-AD5E-4E93-B5FC-BBFC97E379FF}" dt="2021-07-09T03:37:58.891" v="1"/>
          <ac:spMkLst>
            <pc:docMk/>
            <pc:sldMk cId="2972339496" sldId="2218"/>
            <ac:spMk id="26" creationId="{C340F2EE-BA16-482F-BFE4-F0465F9C2085}"/>
          </ac:spMkLst>
        </pc:spChg>
      </pc:sldChg>
      <pc:sldChg chg="modSp">
        <pc:chgData name="Aurelien Domont" userId="6da7715ce44349b3" providerId="LiveId" clId="{41886732-AD5E-4E93-B5FC-BBFC97E379FF}" dt="2021-07-09T03:37:58.891" v="1"/>
        <pc:sldMkLst>
          <pc:docMk/>
          <pc:sldMk cId="424117394" sldId="2219"/>
        </pc:sldMkLst>
        <pc:spChg chg="mod">
          <ac:chgData name="Aurelien Domont" userId="6da7715ce44349b3" providerId="LiveId" clId="{41886732-AD5E-4E93-B5FC-BBFC97E379FF}" dt="2021-07-09T03:37:58.891" v="1"/>
          <ac:spMkLst>
            <pc:docMk/>
            <pc:sldMk cId="424117394" sldId="2219"/>
            <ac:spMk id="26" creationId="{C340F2EE-BA16-482F-BFE4-F0465F9C2085}"/>
          </ac:spMkLst>
        </pc:spChg>
      </pc:sldChg>
      <pc:sldChg chg="modSp">
        <pc:chgData name="Aurelien Domont" userId="6da7715ce44349b3" providerId="LiveId" clId="{41886732-AD5E-4E93-B5FC-BBFC97E379FF}" dt="2021-07-09T03:37:58.891" v="1"/>
        <pc:sldMkLst>
          <pc:docMk/>
          <pc:sldMk cId="282594511" sldId="2222"/>
        </pc:sldMkLst>
        <pc:spChg chg="mod">
          <ac:chgData name="Aurelien Domont" userId="6da7715ce44349b3" providerId="LiveId" clId="{41886732-AD5E-4E93-B5FC-BBFC97E379FF}" dt="2021-07-09T03:37:58.891" v="1"/>
          <ac:spMkLst>
            <pc:docMk/>
            <pc:sldMk cId="282594511" sldId="2222"/>
            <ac:spMk id="26" creationId="{C340F2EE-BA16-482F-BFE4-F0465F9C2085}"/>
          </ac:spMkLst>
        </pc:spChg>
      </pc:sldChg>
      <pc:sldChg chg="modSp">
        <pc:chgData name="Aurelien Domont" userId="6da7715ce44349b3" providerId="LiveId" clId="{41886732-AD5E-4E93-B5FC-BBFC97E379FF}" dt="2021-07-09T03:37:58.891" v="1"/>
        <pc:sldMkLst>
          <pc:docMk/>
          <pc:sldMk cId="551405068" sldId="2223"/>
        </pc:sldMkLst>
        <pc:spChg chg="mod">
          <ac:chgData name="Aurelien Domont" userId="6da7715ce44349b3" providerId="LiveId" clId="{41886732-AD5E-4E93-B5FC-BBFC97E379FF}" dt="2021-07-09T03:37:58.891" v="1"/>
          <ac:spMkLst>
            <pc:docMk/>
            <pc:sldMk cId="551405068" sldId="2223"/>
            <ac:spMk id="26" creationId="{C340F2EE-BA16-482F-BFE4-F0465F9C2085}"/>
          </ac:spMkLst>
        </pc:spChg>
      </pc:sldChg>
      <pc:sldChg chg="modSp">
        <pc:chgData name="Aurelien Domont" userId="6da7715ce44349b3" providerId="LiveId" clId="{41886732-AD5E-4E93-B5FC-BBFC97E379FF}" dt="2021-07-09T03:37:58.891" v="1"/>
        <pc:sldMkLst>
          <pc:docMk/>
          <pc:sldMk cId="1940755133" sldId="2225"/>
        </pc:sldMkLst>
        <pc:spChg chg="mod">
          <ac:chgData name="Aurelien Domont" userId="6da7715ce44349b3" providerId="LiveId" clId="{41886732-AD5E-4E93-B5FC-BBFC97E379FF}" dt="2021-07-09T03:37:58.891" v="1"/>
          <ac:spMkLst>
            <pc:docMk/>
            <pc:sldMk cId="1940755133" sldId="2225"/>
            <ac:spMk id="26" creationId="{C340F2EE-BA16-482F-BFE4-F0465F9C2085}"/>
          </ac:spMkLst>
        </pc:spChg>
      </pc:sldChg>
      <pc:sldChg chg="modSp">
        <pc:chgData name="Aurelien Domont" userId="6da7715ce44349b3" providerId="LiveId" clId="{41886732-AD5E-4E93-B5FC-BBFC97E379FF}" dt="2021-07-09T03:37:58.891" v="1"/>
        <pc:sldMkLst>
          <pc:docMk/>
          <pc:sldMk cId="442511861" sldId="2226"/>
        </pc:sldMkLst>
        <pc:spChg chg="mod">
          <ac:chgData name="Aurelien Domont" userId="6da7715ce44349b3" providerId="LiveId" clId="{41886732-AD5E-4E93-B5FC-BBFC97E379FF}" dt="2021-07-09T03:37:58.891" v="1"/>
          <ac:spMkLst>
            <pc:docMk/>
            <pc:sldMk cId="442511861" sldId="2226"/>
            <ac:spMk id="26" creationId="{C340F2EE-BA16-482F-BFE4-F0465F9C2085}"/>
          </ac:spMkLst>
        </pc:spChg>
      </pc:sldChg>
      <pc:sldChg chg="modSp">
        <pc:chgData name="Aurelien Domont" userId="6da7715ce44349b3" providerId="LiveId" clId="{41886732-AD5E-4E93-B5FC-BBFC97E379FF}" dt="2021-07-09T03:37:58.891" v="1"/>
        <pc:sldMkLst>
          <pc:docMk/>
          <pc:sldMk cId="1903717563" sldId="2227"/>
        </pc:sldMkLst>
        <pc:spChg chg="mod">
          <ac:chgData name="Aurelien Domont" userId="6da7715ce44349b3" providerId="LiveId" clId="{41886732-AD5E-4E93-B5FC-BBFC97E379FF}" dt="2021-07-09T03:37:58.891" v="1"/>
          <ac:spMkLst>
            <pc:docMk/>
            <pc:sldMk cId="1903717563" sldId="2227"/>
            <ac:spMk id="26" creationId="{C340F2EE-BA16-482F-BFE4-F0465F9C2085}"/>
          </ac:spMkLst>
        </pc:spChg>
      </pc:sldChg>
      <pc:sldChg chg="modSp">
        <pc:chgData name="Aurelien Domont" userId="6da7715ce44349b3" providerId="LiveId" clId="{41886732-AD5E-4E93-B5FC-BBFC97E379FF}" dt="2021-07-09T03:37:58.891" v="1"/>
        <pc:sldMkLst>
          <pc:docMk/>
          <pc:sldMk cId="2961597679" sldId="2228"/>
        </pc:sldMkLst>
        <pc:spChg chg="mod">
          <ac:chgData name="Aurelien Domont" userId="6da7715ce44349b3" providerId="LiveId" clId="{41886732-AD5E-4E93-B5FC-BBFC97E379FF}" dt="2021-07-09T03:37:58.891" v="1"/>
          <ac:spMkLst>
            <pc:docMk/>
            <pc:sldMk cId="2961597679" sldId="2228"/>
            <ac:spMk id="26" creationId="{C340F2EE-BA16-482F-BFE4-F0465F9C2085}"/>
          </ac:spMkLst>
        </pc:spChg>
      </pc:sldChg>
      <pc:sldChg chg="modSp">
        <pc:chgData name="Aurelien Domont" userId="6da7715ce44349b3" providerId="LiveId" clId="{41886732-AD5E-4E93-B5FC-BBFC97E379FF}" dt="2021-07-09T03:37:58.891" v="1"/>
        <pc:sldMkLst>
          <pc:docMk/>
          <pc:sldMk cId="678804434" sldId="2238"/>
        </pc:sldMkLst>
        <pc:spChg chg="mod">
          <ac:chgData name="Aurelien Domont" userId="6da7715ce44349b3" providerId="LiveId" clId="{41886732-AD5E-4E93-B5FC-BBFC97E379FF}" dt="2021-07-09T03:37:58.891" v="1"/>
          <ac:spMkLst>
            <pc:docMk/>
            <pc:sldMk cId="678804434" sldId="2238"/>
            <ac:spMk id="26" creationId="{C340F2EE-BA16-482F-BFE4-F0465F9C2085}"/>
          </ac:spMkLst>
        </pc:spChg>
      </pc:sldChg>
      <pc:sldChg chg="add">
        <pc:chgData name="Aurelien Domont" userId="6da7715ce44349b3" providerId="LiveId" clId="{41886732-AD5E-4E93-B5FC-BBFC97E379FF}" dt="2021-07-16T05:08:23.824" v="7"/>
        <pc:sldMkLst>
          <pc:docMk/>
          <pc:sldMk cId="2912464700" sldId="2240"/>
        </pc:sldMkLst>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docChgLst>
    <pc:chgData name="Aurelien Domont" userId="6da7715ce44349b3" providerId="LiveId" clId="{9DB28F03-1A25-4A4E-9946-97135BA1FDC9}"/>
    <pc:docChg chg="undo custSel addSld delSld modSld">
      <pc:chgData name="Aurelien Domont" userId="6da7715ce44349b3" providerId="LiveId" clId="{9DB28F03-1A25-4A4E-9946-97135BA1FDC9}" dt="2021-05-12T07:03:12.756" v="23" actId="20577"/>
      <pc:docMkLst>
        <pc:docMk/>
      </pc:docMkLst>
      <pc:sldChg chg="addSp delSp modSp add del mod">
        <pc:chgData name="Aurelien Domont" userId="6da7715ce44349b3" providerId="LiveId" clId="{9DB28F03-1A25-4A4E-9946-97135BA1FDC9}" dt="2021-05-12T07:03:12.756" v="23" actId="20577"/>
        <pc:sldMkLst>
          <pc:docMk/>
          <pc:sldMk cId="1659127470" sldId="1924"/>
        </pc:sldMkLst>
        <pc:spChg chg="del">
          <ac:chgData name="Aurelien Domont" userId="6da7715ce44349b3" providerId="LiveId" clId="{9DB28F03-1A25-4A4E-9946-97135BA1FDC9}" dt="2021-05-12T07:02:36.244" v="14" actId="478"/>
          <ac:spMkLst>
            <pc:docMk/>
            <pc:sldMk cId="1659127470" sldId="1924"/>
            <ac:spMk id="14" creationId="{493F826D-CCF6-440C-BFA4-C3799A3ED755}"/>
          </ac:spMkLst>
        </pc:spChg>
        <pc:spChg chg="add del mod">
          <ac:chgData name="Aurelien Domont" userId="6da7715ce44349b3" providerId="LiveId" clId="{9DB28F03-1A25-4A4E-9946-97135BA1FDC9}" dt="2021-05-12T07:02:43.931" v="16" actId="478"/>
          <ac:spMkLst>
            <pc:docMk/>
            <pc:sldMk cId="1659127470" sldId="1924"/>
            <ac:spMk id="15" creationId="{8492F43E-A244-4187-9CD1-2A383862A364}"/>
          </ac:spMkLst>
        </pc:spChg>
        <pc:spChg chg="add mod">
          <ac:chgData name="Aurelien Domont" userId="6da7715ce44349b3" providerId="LiveId" clId="{9DB28F03-1A25-4A4E-9946-97135BA1FDC9}" dt="2021-05-12T07:02:40.961" v="15"/>
          <ac:spMkLst>
            <pc:docMk/>
            <pc:sldMk cId="1659127470" sldId="1924"/>
            <ac:spMk id="17" creationId="{469F466A-B940-41E3-B12F-110D72502BCE}"/>
          </ac:spMkLst>
        </pc:spChg>
        <pc:spChg chg="del">
          <ac:chgData name="Aurelien Domont" userId="6da7715ce44349b3" providerId="LiveId" clId="{9DB28F03-1A25-4A4E-9946-97135BA1FDC9}" dt="2021-05-12T07:02:36.244" v="14" actId="478"/>
          <ac:spMkLst>
            <pc:docMk/>
            <pc:sldMk cId="1659127470" sldId="1924"/>
            <ac:spMk id="18" creationId="{0BCD4164-FFCE-447D-8269-E5891A7FEF0D}"/>
          </ac:spMkLst>
        </pc:spChg>
        <pc:spChg chg="del">
          <ac:chgData name="Aurelien Domont" userId="6da7715ce44349b3" providerId="LiveId" clId="{9DB28F03-1A25-4A4E-9946-97135BA1FDC9}" dt="2021-05-12T07:02:36.244" v="14" actId="478"/>
          <ac:spMkLst>
            <pc:docMk/>
            <pc:sldMk cId="1659127470" sldId="1924"/>
            <ac:spMk id="19" creationId="{554EE1B4-E11D-4B37-9F78-B5B5FA8738AA}"/>
          </ac:spMkLst>
        </pc:spChg>
        <pc:spChg chg="add mod">
          <ac:chgData name="Aurelien Domont" userId="6da7715ce44349b3" providerId="LiveId" clId="{9DB28F03-1A25-4A4E-9946-97135BA1FDC9}" dt="2021-05-12T07:02:40.961" v="15"/>
          <ac:spMkLst>
            <pc:docMk/>
            <pc:sldMk cId="1659127470" sldId="1924"/>
            <ac:spMk id="20" creationId="{3A4E6A8C-908C-49FF-9BF8-90A9FC12224D}"/>
          </ac:spMkLst>
        </pc:spChg>
        <pc:spChg chg="add mod">
          <ac:chgData name="Aurelien Domont" userId="6da7715ce44349b3" providerId="LiveId" clId="{9DB28F03-1A25-4A4E-9946-97135BA1FDC9}" dt="2021-05-12T07:02:40.961" v="15"/>
          <ac:spMkLst>
            <pc:docMk/>
            <pc:sldMk cId="1659127470" sldId="1924"/>
            <ac:spMk id="21" creationId="{16FAC062-BB56-4A49-9044-4444E78429DF}"/>
          </ac:spMkLst>
        </pc:spChg>
        <pc:spChg chg="add mod">
          <ac:chgData name="Aurelien Domont" userId="6da7715ce44349b3" providerId="LiveId" clId="{9DB28F03-1A25-4A4E-9946-97135BA1FDC9}" dt="2021-05-12T07:02:40.961" v="15"/>
          <ac:spMkLst>
            <pc:docMk/>
            <pc:sldMk cId="1659127470" sldId="1924"/>
            <ac:spMk id="24" creationId="{95714746-22CF-48C5-AD51-9D9AE6E5F2C8}"/>
          </ac:spMkLst>
        </pc:spChg>
        <pc:spChg chg="add mod">
          <ac:chgData name="Aurelien Domont" userId="6da7715ce44349b3" providerId="LiveId" clId="{9DB28F03-1A25-4A4E-9946-97135BA1FDC9}" dt="2021-05-12T07:03:12.756" v="23" actId="20577"/>
          <ac:spMkLst>
            <pc:docMk/>
            <pc:sldMk cId="1659127470" sldId="1924"/>
            <ac:spMk id="25" creationId="{0B462317-12E0-4745-AFEC-1DF156C5EB17}"/>
          </ac:spMkLst>
        </pc:spChg>
        <pc:spChg chg="add del mod">
          <ac:chgData name="Aurelien Domont" userId="6da7715ce44349b3" providerId="LiveId" clId="{9DB28F03-1A25-4A4E-9946-97135BA1FDC9}" dt="2021-05-12T07:02:51.744" v="19" actId="478"/>
          <ac:spMkLst>
            <pc:docMk/>
            <pc:sldMk cId="1659127470" sldId="1924"/>
            <ac:spMk id="26" creationId="{8207AE42-440E-461F-9002-F8171C2B0FB7}"/>
          </ac:spMkLst>
        </pc:spChg>
        <pc:spChg chg="add del mod">
          <ac:chgData name="Aurelien Domont" userId="6da7715ce44349b3" providerId="LiveId" clId="{9DB28F03-1A25-4A4E-9946-97135BA1FDC9}" dt="2021-05-12T07:02:52.643" v="20" actId="478"/>
          <ac:spMkLst>
            <pc:docMk/>
            <pc:sldMk cId="1659127470" sldId="1924"/>
            <ac:spMk id="27" creationId="{7874958D-3681-4FEB-AF57-767FF2BE43F8}"/>
          </ac:spMkLst>
        </pc:spChg>
        <pc:spChg chg="add del mod">
          <ac:chgData name="Aurelien Domont" userId="6da7715ce44349b3" providerId="LiveId" clId="{9DB28F03-1A25-4A4E-9946-97135BA1FDC9}" dt="2021-05-12T07:02:46.824" v="18" actId="478"/>
          <ac:spMkLst>
            <pc:docMk/>
            <pc:sldMk cId="1659127470" sldId="1924"/>
            <ac:spMk id="28" creationId="{46F541B2-19A4-48FE-BC36-F95AB3359448}"/>
          </ac:spMkLst>
        </pc:spChg>
        <pc:spChg chg="del">
          <ac:chgData name="Aurelien Domont" userId="6da7715ce44349b3" providerId="LiveId" clId="{9DB28F03-1A25-4A4E-9946-97135BA1FDC9}" dt="2021-05-12T07:02:36.244" v="14" actId="478"/>
          <ac:spMkLst>
            <pc:docMk/>
            <pc:sldMk cId="1659127470" sldId="1924"/>
            <ac:spMk id="34" creationId="{E2BDE0B8-90AF-4DE7-A71B-FE78ADE30B55}"/>
          </ac:spMkLst>
        </pc:spChg>
        <pc:spChg chg="del">
          <ac:chgData name="Aurelien Domont" userId="6da7715ce44349b3" providerId="LiveId" clId="{9DB28F03-1A25-4A4E-9946-97135BA1FDC9}" dt="2021-05-12T07:02:36.244" v="14" actId="478"/>
          <ac:spMkLst>
            <pc:docMk/>
            <pc:sldMk cId="1659127470" sldId="1924"/>
            <ac:spMk id="35" creationId="{1BC3B263-81C3-42AD-96C7-45AB7FFD0557}"/>
          </ac:spMkLst>
        </pc:spChg>
        <pc:spChg chg="del">
          <ac:chgData name="Aurelien Domont" userId="6da7715ce44349b3" providerId="LiveId" clId="{9DB28F03-1A25-4A4E-9946-97135BA1FDC9}" dt="2021-05-12T07:02:36.244" v="14" actId="478"/>
          <ac:spMkLst>
            <pc:docMk/>
            <pc:sldMk cId="1659127470" sldId="1924"/>
            <ac:spMk id="36" creationId="{DEACEA99-9E9A-408A-9277-86EFC1C60A69}"/>
          </ac:spMkLst>
        </pc:spChg>
        <pc:cxnChg chg="del">
          <ac:chgData name="Aurelien Domont" userId="6da7715ce44349b3" providerId="LiveId" clId="{9DB28F03-1A25-4A4E-9946-97135BA1FDC9}" dt="2021-05-12T07:02:36.244" v="14" actId="478"/>
          <ac:cxnSpMkLst>
            <pc:docMk/>
            <pc:sldMk cId="1659127470" sldId="1924"/>
            <ac:cxnSpMk id="6" creationId="{91E4FFAB-FF4F-40BB-B034-751A14BFD071}"/>
          </ac:cxnSpMkLst>
        </pc:cxnChg>
        <pc:cxnChg chg="add mod">
          <ac:chgData name="Aurelien Domont" userId="6da7715ce44349b3" providerId="LiveId" clId="{9DB28F03-1A25-4A4E-9946-97135BA1FDC9}" dt="2021-05-12T07:02:40.961" v="15"/>
          <ac:cxnSpMkLst>
            <pc:docMk/>
            <pc:sldMk cId="1659127470" sldId="1924"/>
            <ac:cxnSpMk id="22" creationId="{8F214CF9-01D2-40DC-9D6F-DAC675E238D0}"/>
          </ac:cxnSpMkLst>
        </pc:cxnChg>
        <pc:cxnChg chg="add mod">
          <ac:chgData name="Aurelien Domont" userId="6da7715ce44349b3" providerId="LiveId" clId="{9DB28F03-1A25-4A4E-9946-97135BA1FDC9}" dt="2021-05-12T07:02:40.961" v="15"/>
          <ac:cxnSpMkLst>
            <pc:docMk/>
            <pc:sldMk cId="1659127470" sldId="1924"/>
            <ac:cxnSpMk id="23" creationId="{919B0EFB-7619-4E1E-BC50-B4C9AA07AF7A}"/>
          </ac:cxnSpMkLst>
        </pc:cxnChg>
        <pc:cxnChg chg="del">
          <ac:chgData name="Aurelien Domont" userId="6da7715ce44349b3" providerId="LiveId" clId="{9DB28F03-1A25-4A4E-9946-97135BA1FDC9}" dt="2021-05-12T07:02:36.244" v="14" actId="478"/>
          <ac:cxnSpMkLst>
            <pc:docMk/>
            <pc:sldMk cId="1659127470" sldId="1924"/>
            <ac:cxnSpMk id="33" creationId="{3B31C624-A379-4A7C-8695-3B2B901C5E36}"/>
          </ac:cxnSpMkLst>
        </pc:cxnChg>
      </pc:sldChg>
      <pc:sldChg chg="addSp delSp modSp add del mod">
        <pc:chgData name="Aurelien Domont" userId="6da7715ce44349b3" providerId="LiveId" clId="{9DB28F03-1A25-4A4E-9946-97135BA1FDC9}" dt="2021-05-12T07:02:31.884" v="13"/>
        <pc:sldMkLst>
          <pc:docMk/>
          <pc:sldMk cId="2780470134" sldId="2169"/>
        </pc:sldMkLst>
        <pc:spChg chg="add del">
          <ac:chgData name="Aurelien Domont" userId="6da7715ce44349b3" providerId="LiveId" clId="{9DB28F03-1A25-4A4E-9946-97135BA1FDC9}" dt="2021-05-12T07:02:27.560" v="11" actId="478"/>
          <ac:spMkLst>
            <pc:docMk/>
            <pc:sldMk cId="2780470134" sldId="2169"/>
            <ac:spMk id="4" creationId="{D1930ED8-C851-405B-901E-2CC967E63EEB}"/>
          </ac:spMkLst>
        </pc:spChg>
        <pc:spChg chg="add del">
          <ac:chgData name="Aurelien Domont" userId="6da7715ce44349b3" providerId="LiveId" clId="{9DB28F03-1A25-4A4E-9946-97135BA1FDC9}" dt="2021-05-12T07:02:27.560" v="11" actId="478"/>
          <ac:spMkLst>
            <pc:docMk/>
            <pc:sldMk cId="2780470134" sldId="2169"/>
            <ac:spMk id="15" creationId="{A49EC62A-DF00-4CF2-94E8-C5D0BE35FC0B}"/>
          </ac:spMkLst>
        </pc:spChg>
        <pc:spChg chg="add del mod">
          <ac:chgData name="Aurelien Domont" userId="6da7715ce44349b3" providerId="LiveId" clId="{9DB28F03-1A25-4A4E-9946-97135BA1FDC9}" dt="2021-05-12T07:02:27.277" v="10" actId="1076"/>
          <ac:spMkLst>
            <pc:docMk/>
            <pc:sldMk cId="2780470134" sldId="2169"/>
            <ac:spMk id="17" creationId="{3B83C0B2-844F-4168-BE85-BA50DF2BED24}"/>
          </ac:spMkLst>
        </pc:spChg>
        <pc:spChg chg="add del">
          <ac:chgData name="Aurelien Domont" userId="6da7715ce44349b3" providerId="LiveId" clId="{9DB28F03-1A25-4A4E-9946-97135BA1FDC9}" dt="2021-05-12T07:02:15.133" v="6" actId="478"/>
          <ac:spMkLst>
            <pc:docMk/>
            <pc:sldMk cId="2780470134" sldId="2169"/>
            <ac:spMk id="35" creationId="{1BC3B263-81C3-42AD-96C7-45AB7FFD0557}"/>
          </ac:spMkLst>
        </pc:spChg>
      </pc:sldChg>
    </pc:docChg>
  </pc:docChgLst>
  <pc:docChgLst>
    <pc:chgData name="Aurelien Domont" userId="6da7715ce44349b3" providerId="LiveId" clId="{C37E6FE4-15B9-445D-9A12-9B3805BC54CA}"/>
    <pc:docChg chg="undo custSel addSld delSld modSld sldOrd">
      <pc:chgData name="Aurelien Domont" userId="6da7715ce44349b3" providerId="LiveId" clId="{C37E6FE4-15B9-445D-9A12-9B3805BC54CA}" dt="2021-05-26T06:07:01.618" v="1889" actId="47"/>
      <pc:docMkLst>
        <pc:docMk/>
      </pc:docMkLst>
      <pc:sldChg chg="modSp mod">
        <pc:chgData name="Aurelien Domont" userId="6da7715ce44349b3" providerId="LiveId" clId="{C37E6FE4-15B9-445D-9A12-9B3805BC54CA}" dt="2021-05-26T04:50:52.067" v="2"/>
        <pc:sldMkLst>
          <pc:docMk/>
          <pc:sldMk cId="3131901387" sldId="256"/>
        </pc:sldMkLst>
        <pc:spChg chg="mod">
          <ac:chgData name="Aurelien Domont" userId="6da7715ce44349b3" providerId="LiveId" clId="{C37E6FE4-15B9-445D-9A12-9B3805BC54CA}" dt="2021-05-26T04:50:52.067" v="2"/>
          <ac:spMkLst>
            <pc:docMk/>
            <pc:sldMk cId="3131901387" sldId="256"/>
            <ac:spMk id="2" creationId="{5261080C-C60C-4746-B6B1-A9A4FFA86785}"/>
          </ac:spMkLst>
        </pc:spChg>
      </pc:sldChg>
      <pc:sldChg chg="modSp add mod">
        <pc:chgData name="Aurelien Domont" userId="6da7715ce44349b3" providerId="LiveId" clId="{C37E6FE4-15B9-445D-9A12-9B3805BC54CA}" dt="2021-05-26T05:54:02.314" v="1876" actId="20577"/>
        <pc:sldMkLst>
          <pc:docMk/>
          <pc:sldMk cId="2990524837" sldId="1486"/>
        </pc:sldMkLst>
        <pc:spChg chg="mod">
          <ac:chgData name="Aurelien Domont" userId="6da7715ce44349b3" providerId="LiveId" clId="{C37E6FE4-15B9-445D-9A12-9B3805BC54CA}" dt="2021-05-26T05:54:02.314" v="1876" actId="20577"/>
          <ac:spMkLst>
            <pc:docMk/>
            <pc:sldMk cId="2990524837" sldId="1486"/>
            <ac:spMk id="27" creationId="{4E80815A-CF47-49B1-A117-AC9E49839D4E}"/>
          </ac:spMkLst>
        </pc:spChg>
      </pc:sldChg>
      <pc:sldChg chg="add">
        <pc:chgData name="Aurelien Domont" userId="6da7715ce44349b3" providerId="LiveId" clId="{C37E6FE4-15B9-445D-9A12-9B3805BC54CA}" dt="2021-05-26T04:54:33.450" v="67"/>
        <pc:sldMkLst>
          <pc:docMk/>
          <pc:sldMk cId="926313830" sldId="1489"/>
        </pc:sldMkLst>
      </pc:sldChg>
      <pc:sldChg chg="add">
        <pc:chgData name="Aurelien Domont" userId="6da7715ce44349b3" providerId="LiveId" clId="{C37E6FE4-15B9-445D-9A12-9B3805BC54CA}" dt="2021-05-26T04:54:33.450" v="67"/>
        <pc:sldMkLst>
          <pc:docMk/>
          <pc:sldMk cId="3370215172" sldId="1490"/>
        </pc:sldMkLst>
      </pc:sldChg>
      <pc:sldChg chg="add del">
        <pc:chgData name="Aurelien Domont" userId="6da7715ce44349b3" providerId="LiveId" clId="{C37E6FE4-15B9-445D-9A12-9B3805BC54CA}" dt="2021-05-26T05:58:31.542" v="1880" actId="47"/>
        <pc:sldMkLst>
          <pc:docMk/>
          <pc:sldMk cId="3022188194" sldId="1518"/>
        </pc:sldMkLst>
      </pc:sldChg>
      <pc:sldChg chg="addSp delSp modSp add del mod">
        <pc:chgData name="Aurelien Domont" userId="6da7715ce44349b3" providerId="LiveId" clId="{C37E6FE4-15B9-445D-9A12-9B3805BC54CA}" dt="2021-05-26T05:54:36.858" v="1877" actId="47"/>
        <pc:sldMkLst>
          <pc:docMk/>
          <pc:sldMk cId="2976285416" sldId="1520"/>
        </pc:sldMkLst>
        <pc:spChg chg="mod">
          <ac:chgData name="Aurelien Domont" userId="6da7715ce44349b3" providerId="LiveId" clId="{C37E6FE4-15B9-445D-9A12-9B3805BC54CA}" dt="2021-05-26T05:40:20.351" v="1208" actId="20577"/>
          <ac:spMkLst>
            <pc:docMk/>
            <pc:sldMk cId="2976285416" sldId="1520"/>
            <ac:spMk id="14" creationId="{C9800183-F524-4412-AB39-A6E1A21FF0B3}"/>
          </ac:spMkLst>
        </pc:spChg>
        <pc:spChg chg="add del mod">
          <ac:chgData name="Aurelien Domont" userId="6da7715ce44349b3" providerId="LiveId" clId="{C37E6FE4-15B9-445D-9A12-9B3805BC54CA}" dt="2021-05-26T05:44:12.516" v="1410" actId="478"/>
          <ac:spMkLst>
            <pc:docMk/>
            <pc:sldMk cId="2976285416" sldId="1520"/>
            <ac:spMk id="20" creationId="{D88841C8-0622-4D05-91CE-25B9A2AD78F2}"/>
          </ac:spMkLst>
        </pc:spChg>
        <pc:spChg chg="del mod">
          <ac:chgData name="Aurelien Domont" userId="6da7715ce44349b3" providerId="LiveId" clId="{C37E6FE4-15B9-445D-9A12-9B3805BC54CA}" dt="2021-05-26T05:40:46.605" v="1210" actId="478"/>
          <ac:spMkLst>
            <pc:docMk/>
            <pc:sldMk cId="2976285416" sldId="1520"/>
            <ac:spMk id="38" creationId="{9BE856EA-A840-4319-947D-2CE5B1774FE9}"/>
          </ac:spMkLst>
        </pc:spChg>
      </pc:sldChg>
      <pc:sldChg chg="add">
        <pc:chgData name="Aurelien Domont" userId="6da7715ce44349b3" providerId="LiveId" clId="{C37E6FE4-15B9-445D-9A12-9B3805BC54CA}" dt="2021-05-26T04:53:38.376" v="40"/>
        <pc:sldMkLst>
          <pc:docMk/>
          <pc:sldMk cId="359603823" sldId="1539"/>
        </pc:sldMkLst>
      </pc:sldChg>
      <pc:sldChg chg="add">
        <pc:chgData name="Aurelien Domont" userId="6da7715ce44349b3" providerId="LiveId" clId="{C37E6FE4-15B9-445D-9A12-9B3805BC54CA}" dt="2021-05-26T04:53:38.376" v="40"/>
        <pc:sldMkLst>
          <pc:docMk/>
          <pc:sldMk cId="3822864552" sldId="1540"/>
        </pc:sldMkLst>
      </pc:sldChg>
      <pc:sldChg chg="add">
        <pc:chgData name="Aurelien Domont" userId="6da7715ce44349b3" providerId="LiveId" clId="{C37E6FE4-15B9-445D-9A12-9B3805BC54CA}" dt="2021-05-26T04:53:38.376" v="40"/>
        <pc:sldMkLst>
          <pc:docMk/>
          <pc:sldMk cId="396583763" sldId="1541"/>
        </pc:sldMkLst>
      </pc:sldChg>
      <pc:sldChg chg="add">
        <pc:chgData name="Aurelien Domont" userId="6da7715ce44349b3" providerId="LiveId" clId="{C37E6FE4-15B9-445D-9A12-9B3805BC54CA}" dt="2021-05-26T04:53:38.376" v="40"/>
        <pc:sldMkLst>
          <pc:docMk/>
          <pc:sldMk cId="248084048" sldId="1542"/>
        </pc:sldMkLst>
      </pc:sldChg>
      <pc:sldChg chg="add">
        <pc:chgData name="Aurelien Domont" userId="6da7715ce44349b3" providerId="LiveId" clId="{C37E6FE4-15B9-445D-9A12-9B3805BC54CA}" dt="2021-05-26T04:53:38.376" v="40"/>
        <pc:sldMkLst>
          <pc:docMk/>
          <pc:sldMk cId="1881042919" sldId="1543"/>
        </pc:sldMkLst>
      </pc:sldChg>
      <pc:sldChg chg="add">
        <pc:chgData name="Aurelien Domont" userId="6da7715ce44349b3" providerId="LiveId" clId="{C37E6FE4-15B9-445D-9A12-9B3805BC54CA}" dt="2021-05-26T04:53:38.376" v="40"/>
        <pc:sldMkLst>
          <pc:docMk/>
          <pc:sldMk cId="481203502" sldId="1544"/>
        </pc:sldMkLst>
      </pc:sldChg>
      <pc:sldChg chg="add">
        <pc:chgData name="Aurelien Domont" userId="6da7715ce44349b3" providerId="LiveId" clId="{C37E6FE4-15B9-445D-9A12-9B3805BC54CA}" dt="2021-05-26T04:53:38.376" v="40"/>
        <pc:sldMkLst>
          <pc:docMk/>
          <pc:sldMk cId="3474761269" sldId="1546"/>
        </pc:sldMkLst>
      </pc:sldChg>
      <pc:sldChg chg="add del">
        <pc:chgData name="Aurelien Domont" userId="6da7715ce44349b3" providerId="LiveId" clId="{C37E6FE4-15B9-445D-9A12-9B3805BC54CA}" dt="2021-05-26T06:00:16.814" v="1882" actId="47"/>
        <pc:sldMkLst>
          <pc:docMk/>
          <pc:sldMk cId="2466383549" sldId="1547"/>
        </pc:sldMkLst>
      </pc:sldChg>
      <pc:sldChg chg="add">
        <pc:chgData name="Aurelien Domont" userId="6da7715ce44349b3" providerId="LiveId" clId="{C37E6FE4-15B9-445D-9A12-9B3805BC54CA}" dt="2021-05-26T04:53:38.376" v="40"/>
        <pc:sldMkLst>
          <pc:docMk/>
          <pc:sldMk cId="4116996389" sldId="1548"/>
        </pc:sldMkLst>
      </pc:sldChg>
      <pc:sldChg chg="add">
        <pc:chgData name="Aurelien Domont" userId="6da7715ce44349b3" providerId="LiveId" clId="{C37E6FE4-15B9-445D-9A12-9B3805BC54CA}" dt="2021-05-26T04:53:38.376" v="40"/>
        <pc:sldMkLst>
          <pc:docMk/>
          <pc:sldMk cId="3289359821" sldId="1549"/>
        </pc:sldMkLst>
      </pc:sldChg>
      <pc:sldChg chg="add">
        <pc:chgData name="Aurelien Domont" userId="6da7715ce44349b3" providerId="LiveId" clId="{C37E6FE4-15B9-445D-9A12-9B3805BC54CA}" dt="2021-05-26T04:53:38.376" v="40"/>
        <pc:sldMkLst>
          <pc:docMk/>
          <pc:sldMk cId="4238157380" sldId="1550"/>
        </pc:sldMkLst>
      </pc:sldChg>
      <pc:sldChg chg="add">
        <pc:chgData name="Aurelien Domont" userId="6da7715ce44349b3" providerId="LiveId" clId="{C37E6FE4-15B9-445D-9A12-9B3805BC54CA}" dt="2021-05-26T04:53:38.376" v="40"/>
        <pc:sldMkLst>
          <pc:docMk/>
          <pc:sldMk cId="747031334" sldId="1551"/>
        </pc:sldMkLst>
      </pc:sldChg>
      <pc:sldChg chg="add del">
        <pc:chgData name="Aurelien Domont" userId="6da7715ce44349b3" providerId="LiveId" clId="{C37E6FE4-15B9-445D-9A12-9B3805BC54CA}" dt="2021-05-26T05:50:28.137" v="1819" actId="47"/>
        <pc:sldMkLst>
          <pc:docMk/>
          <pc:sldMk cId="3717827458" sldId="1557"/>
        </pc:sldMkLst>
      </pc:sldChg>
      <pc:sldChg chg="add del">
        <pc:chgData name="Aurelien Domont" userId="6da7715ce44349b3" providerId="LiveId" clId="{C37E6FE4-15B9-445D-9A12-9B3805BC54CA}" dt="2021-05-26T05:50:28.137" v="1819" actId="47"/>
        <pc:sldMkLst>
          <pc:docMk/>
          <pc:sldMk cId="2317062444" sldId="1562"/>
        </pc:sldMkLst>
      </pc:sldChg>
      <pc:sldChg chg="add del">
        <pc:chgData name="Aurelien Domont" userId="6da7715ce44349b3" providerId="LiveId" clId="{C37E6FE4-15B9-445D-9A12-9B3805BC54CA}" dt="2021-05-26T05:31:24.643" v="880" actId="47"/>
        <pc:sldMkLst>
          <pc:docMk/>
          <pc:sldMk cId="3132763004" sldId="1563"/>
        </pc:sldMkLst>
      </pc:sldChg>
      <pc:sldChg chg="add del">
        <pc:chgData name="Aurelien Domont" userId="6da7715ce44349b3" providerId="LiveId" clId="{C37E6FE4-15B9-445D-9A12-9B3805BC54CA}" dt="2021-05-26T05:31:24.643" v="880" actId="47"/>
        <pc:sldMkLst>
          <pc:docMk/>
          <pc:sldMk cId="3562844070" sldId="1567"/>
        </pc:sldMkLst>
      </pc:sldChg>
      <pc:sldChg chg="add del">
        <pc:chgData name="Aurelien Domont" userId="6da7715ce44349b3" providerId="LiveId" clId="{C37E6FE4-15B9-445D-9A12-9B3805BC54CA}" dt="2021-05-26T05:31:24.643" v="880" actId="47"/>
        <pc:sldMkLst>
          <pc:docMk/>
          <pc:sldMk cId="2606253982" sldId="1568"/>
        </pc:sldMkLst>
      </pc:sldChg>
      <pc:sldChg chg="add del">
        <pc:chgData name="Aurelien Domont" userId="6da7715ce44349b3" providerId="LiveId" clId="{C37E6FE4-15B9-445D-9A12-9B3805BC54CA}" dt="2021-05-26T05:31:24.643" v="880" actId="47"/>
        <pc:sldMkLst>
          <pc:docMk/>
          <pc:sldMk cId="705146496" sldId="1569"/>
        </pc:sldMkLst>
      </pc:sldChg>
      <pc:sldChg chg="add del">
        <pc:chgData name="Aurelien Domont" userId="6da7715ce44349b3" providerId="LiveId" clId="{C37E6FE4-15B9-445D-9A12-9B3805BC54CA}" dt="2021-05-26T05:31:24.643" v="880" actId="47"/>
        <pc:sldMkLst>
          <pc:docMk/>
          <pc:sldMk cId="4209253123" sldId="1570"/>
        </pc:sldMkLst>
      </pc:sldChg>
      <pc:sldChg chg="add del">
        <pc:chgData name="Aurelien Domont" userId="6da7715ce44349b3" providerId="LiveId" clId="{C37E6FE4-15B9-445D-9A12-9B3805BC54CA}" dt="2021-05-26T05:31:24.643" v="880" actId="47"/>
        <pc:sldMkLst>
          <pc:docMk/>
          <pc:sldMk cId="548172080" sldId="1571"/>
        </pc:sldMkLst>
      </pc:sldChg>
      <pc:sldChg chg="modSp add mod">
        <pc:chgData name="Aurelien Domont" userId="6da7715ce44349b3" providerId="LiveId" clId="{C37E6FE4-15B9-445D-9A12-9B3805BC54CA}" dt="2021-05-26T05:57:34.195" v="1878" actId="20577"/>
        <pc:sldMkLst>
          <pc:docMk/>
          <pc:sldMk cId="729552457" sldId="1580"/>
        </pc:sldMkLst>
        <pc:spChg chg="mod">
          <ac:chgData name="Aurelien Domont" userId="6da7715ce44349b3" providerId="LiveId" clId="{C37E6FE4-15B9-445D-9A12-9B3805BC54CA}" dt="2021-05-26T05:57:34.195" v="1878" actId="20577"/>
          <ac:spMkLst>
            <pc:docMk/>
            <pc:sldMk cId="729552457" sldId="1580"/>
            <ac:spMk id="18" creationId="{D8959464-26D6-47BC-82A2-B76EE40FDE66}"/>
          </ac:spMkLst>
        </pc:spChg>
      </pc:sldChg>
      <pc:sldChg chg="add">
        <pc:chgData name="Aurelien Domont" userId="6da7715ce44349b3" providerId="LiveId" clId="{C37E6FE4-15B9-445D-9A12-9B3805BC54CA}" dt="2021-05-26T05:39:13.103" v="1200"/>
        <pc:sldMkLst>
          <pc:docMk/>
          <pc:sldMk cId="541233884" sldId="1584"/>
        </pc:sldMkLst>
      </pc:sldChg>
      <pc:sldChg chg="add">
        <pc:chgData name="Aurelien Domont" userId="6da7715ce44349b3" providerId="LiveId" clId="{C37E6FE4-15B9-445D-9A12-9B3805BC54CA}" dt="2021-05-26T05:39:13.103" v="1200"/>
        <pc:sldMkLst>
          <pc:docMk/>
          <pc:sldMk cId="1221562796" sldId="1585"/>
        </pc:sldMkLst>
      </pc:sldChg>
      <pc:sldChg chg="add">
        <pc:chgData name="Aurelien Domont" userId="6da7715ce44349b3" providerId="LiveId" clId="{C37E6FE4-15B9-445D-9A12-9B3805BC54CA}" dt="2021-05-26T05:39:13.103" v="1200"/>
        <pc:sldMkLst>
          <pc:docMk/>
          <pc:sldMk cId="3333724202" sldId="1586"/>
        </pc:sldMkLst>
      </pc:sldChg>
      <pc:sldChg chg="add">
        <pc:chgData name="Aurelien Domont" userId="6da7715ce44349b3" providerId="LiveId" clId="{C37E6FE4-15B9-445D-9A12-9B3805BC54CA}" dt="2021-05-26T05:39:13.103" v="1200"/>
        <pc:sldMkLst>
          <pc:docMk/>
          <pc:sldMk cId="2328040230" sldId="1587"/>
        </pc:sldMkLst>
      </pc:sldChg>
      <pc:sldChg chg="add">
        <pc:chgData name="Aurelien Domont" userId="6da7715ce44349b3" providerId="LiveId" clId="{C37E6FE4-15B9-445D-9A12-9B3805BC54CA}" dt="2021-05-26T05:39:13.103" v="1200"/>
        <pc:sldMkLst>
          <pc:docMk/>
          <pc:sldMk cId="416223994" sldId="1588"/>
        </pc:sldMkLst>
      </pc:sldChg>
      <pc:sldChg chg="add">
        <pc:chgData name="Aurelien Domont" userId="6da7715ce44349b3" providerId="LiveId" clId="{C37E6FE4-15B9-445D-9A12-9B3805BC54CA}" dt="2021-05-26T05:39:13.103" v="1200"/>
        <pc:sldMkLst>
          <pc:docMk/>
          <pc:sldMk cId="1962551731" sldId="1589"/>
        </pc:sldMkLst>
      </pc:sldChg>
      <pc:sldChg chg="add">
        <pc:chgData name="Aurelien Domont" userId="6da7715ce44349b3" providerId="LiveId" clId="{C37E6FE4-15B9-445D-9A12-9B3805BC54CA}" dt="2021-05-26T05:39:13.103" v="1200"/>
        <pc:sldMkLst>
          <pc:docMk/>
          <pc:sldMk cId="178148872" sldId="1590"/>
        </pc:sldMkLst>
      </pc:sldChg>
      <pc:sldChg chg="add">
        <pc:chgData name="Aurelien Domont" userId="6da7715ce44349b3" providerId="LiveId" clId="{C37E6FE4-15B9-445D-9A12-9B3805BC54CA}" dt="2021-05-26T05:39:13.103" v="1200"/>
        <pc:sldMkLst>
          <pc:docMk/>
          <pc:sldMk cId="2223111182" sldId="1591"/>
        </pc:sldMkLst>
      </pc:sldChg>
      <pc:sldChg chg="add">
        <pc:chgData name="Aurelien Domont" userId="6da7715ce44349b3" providerId="LiveId" clId="{C37E6FE4-15B9-445D-9A12-9B3805BC54CA}" dt="2021-05-26T05:39:13.103" v="1200"/>
        <pc:sldMkLst>
          <pc:docMk/>
          <pc:sldMk cId="4210937184" sldId="1592"/>
        </pc:sldMkLst>
      </pc:sldChg>
      <pc:sldChg chg="add">
        <pc:chgData name="Aurelien Domont" userId="6da7715ce44349b3" providerId="LiveId" clId="{C37E6FE4-15B9-445D-9A12-9B3805BC54CA}" dt="2021-05-26T06:06:59.772" v="1888"/>
        <pc:sldMkLst>
          <pc:docMk/>
          <pc:sldMk cId="1754585881" sldId="1598"/>
        </pc:sldMkLst>
      </pc:sldChg>
      <pc:sldChg chg="add">
        <pc:chgData name="Aurelien Domont" userId="6da7715ce44349b3" providerId="LiveId" clId="{C37E6FE4-15B9-445D-9A12-9B3805BC54CA}" dt="2021-05-26T06:06:59.772" v="1888"/>
        <pc:sldMkLst>
          <pc:docMk/>
          <pc:sldMk cId="748962572" sldId="1599"/>
        </pc:sldMkLst>
      </pc:sldChg>
      <pc:sldChg chg="add">
        <pc:chgData name="Aurelien Domont" userId="6da7715ce44349b3" providerId="LiveId" clId="{C37E6FE4-15B9-445D-9A12-9B3805BC54CA}" dt="2021-05-26T06:06:59.772" v="1888"/>
        <pc:sldMkLst>
          <pc:docMk/>
          <pc:sldMk cId="2853806433" sldId="1600"/>
        </pc:sldMkLst>
      </pc:sldChg>
      <pc:sldChg chg="add del">
        <pc:chgData name="Aurelien Domont" userId="6da7715ce44349b3" providerId="LiveId" clId="{C37E6FE4-15B9-445D-9A12-9B3805BC54CA}" dt="2021-05-26T05:50:28.137" v="1819" actId="47"/>
        <pc:sldMkLst>
          <pc:docMk/>
          <pc:sldMk cId="2644303535" sldId="1668"/>
        </pc:sldMkLst>
      </pc:sldChg>
      <pc:sldChg chg="add del">
        <pc:chgData name="Aurelien Domont" userId="6da7715ce44349b3" providerId="LiveId" clId="{C37E6FE4-15B9-445D-9A12-9B3805BC54CA}" dt="2021-05-26T05:50:28.137" v="1819" actId="47"/>
        <pc:sldMkLst>
          <pc:docMk/>
          <pc:sldMk cId="597933806" sldId="1925"/>
        </pc:sldMkLst>
      </pc:sldChg>
      <pc:sldChg chg="add del">
        <pc:chgData name="Aurelien Domont" userId="6da7715ce44349b3" providerId="LiveId" clId="{C37E6FE4-15B9-445D-9A12-9B3805BC54CA}" dt="2021-05-26T05:50:28.137" v="1819" actId="47"/>
        <pc:sldMkLst>
          <pc:docMk/>
          <pc:sldMk cId="317604876" sldId="1935"/>
        </pc:sldMkLst>
      </pc:sldChg>
      <pc:sldChg chg="add del">
        <pc:chgData name="Aurelien Domont" userId="6da7715ce44349b3" providerId="LiveId" clId="{C37E6FE4-15B9-445D-9A12-9B3805BC54CA}" dt="2021-05-26T05:50:28.137" v="1819" actId="47"/>
        <pc:sldMkLst>
          <pc:docMk/>
          <pc:sldMk cId="460632394" sldId="2035"/>
        </pc:sldMkLst>
      </pc:sldChg>
      <pc:sldChg chg="del">
        <pc:chgData name="Aurelien Domont" userId="6da7715ce44349b3" providerId="LiveId" clId="{C37E6FE4-15B9-445D-9A12-9B3805BC54CA}" dt="2021-05-26T06:07:01.618" v="1889" actId="47"/>
        <pc:sldMkLst>
          <pc:docMk/>
          <pc:sldMk cId="1289725493" sldId="2149"/>
        </pc:sldMkLst>
      </pc:sldChg>
      <pc:sldChg chg="add del">
        <pc:chgData name="Aurelien Domont" userId="6da7715ce44349b3" providerId="LiveId" clId="{C37E6FE4-15B9-445D-9A12-9B3805BC54CA}" dt="2021-05-26T05:50:28.137" v="1819" actId="47"/>
        <pc:sldMkLst>
          <pc:docMk/>
          <pc:sldMk cId="1834764109" sldId="2154"/>
        </pc:sldMkLst>
      </pc:sldChg>
      <pc:sldChg chg="add del">
        <pc:chgData name="Aurelien Domont" userId="6da7715ce44349b3" providerId="LiveId" clId="{C37E6FE4-15B9-445D-9A12-9B3805BC54CA}" dt="2021-05-26T05:50:28.137" v="1819" actId="47"/>
        <pc:sldMkLst>
          <pc:docMk/>
          <pc:sldMk cId="2346025138" sldId="2155"/>
        </pc:sldMkLst>
      </pc:sldChg>
      <pc:sldChg chg="add del">
        <pc:chgData name="Aurelien Domont" userId="6da7715ce44349b3" providerId="LiveId" clId="{C37E6FE4-15B9-445D-9A12-9B3805BC54CA}" dt="2021-05-26T05:31:28.774" v="882" actId="47"/>
        <pc:sldMkLst>
          <pc:docMk/>
          <pc:sldMk cId="1479295029" sldId="2156"/>
        </pc:sldMkLst>
      </pc:sldChg>
      <pc:sldChg chg="add del">
        <pc:chgData name="Aurelien Domont" userId="6da7715ce44349b3" providerId="LiveId" clId="{C37E6FE4-15B9-445D-9A12-9B3805BC54CA}" dt="2021-05-26T05:31:29.390" v="883" actId="47"/>
        <pc:sldMkLst>
          <pc:docMk/>
          <pc:sldMk cId="2678382071" sldId="2160"/>
        </pc:sldMkLst>
      </pc:sldChg>
      <pc:sldChg chg="add del">
        <pc:chgData name="Aurelien Domont" userId="6da7715ce44349b3" providerId="LiveId" clId="{C37E6FE4-15B9-445D-9A12-9B3805BC54CA}" dt="2021-05-26T05:50:28.137" v="1819" actId="47"/>
        <pc:sldMkLst>
          <pc:docMk/>
          <pc:sldMk cId="1648929139" sldId="2162"/>
        </pc:sldMkLst>
      </pc:sldChg>
      <pc:sldChg chg="add del">
        <pc:chgData name="Aurelien Domont" userId="6da7715ce44349b3" providerId="LiveId" clId="{C37E6FE4-15B9-445D-9A12-9B3805BC54CA}" dt="2021-05-26T05:50:28.137" v="1819" actId="47"/>
        <pc:sldMkLst>
          <pc:docMk/>
          <pc:sldMk cId="875289396" sldId="2163"/>
        </pc:sldMkLst>
      </pc:sldChg>
      <pc:sldChg chg="add del">
        <pc:chgData name="Aurelien Domont" userId="6da7715ce44349b3" providerId="LiveId" clId="{C37E6FE4-15B9-445D-9A12-9B3805BC54CA}" dt="2021-05-26T05:32:43.332" v="888" actId="47"/>
        <pc:sldMkLst>
          <pc:docMk/>
          <pc:sldMk cId="2342396241" sldId="2168"/>
        </pc:sldMkLst>
      </pc:sldChg>
      <pc:sldChg chg="add del">
        <pc:chgData name="Aurelien Domont" userId="6da7715ce44349b3" providerId="LiveId" clId="{C37E6FE4-15B9-445D-9A12-9B3805BC54CA}" dt="2021-05-26T05:32:43.332" v="888" actId="47"/>
        <pc:sldMkLst>
          <pc:docMk/>
          <pc:sldMk cId="2159222150" sldId="2169"/>
        </pc:sldMkLst>
      </pc:sldChg>
      <pc:sldChg chg="add del">
        <pc:chgData name="Aurelien Domont" userId="6da7715ce44349b3" providerId="LiveId" clId="{C37E6FE4-15B9-445D-9A12-9B3805BC54CA}" dt="2021-05-26T05:50:28.137" v="1819" actId="47"/>
        <pc:sldMkLst>
          <pc:docMk/>
          <pc:sldMk cId="1929697781" sldId="2171"/>
        </pc:sldMkLst>
      </pc:sldChg>
      <pc:sldChg chg="add del">
        <pc:chgData name="Aurelien Domont" userId="6da7715ce44349b3" providerId="LiveId" clId="{C37E6FE4-15B9-445D-9A12-9B3805BC54CA}" dt="2021-05-26T05:51:07.181" v="1826" actId="47"/>
        <pc:sldMkLst>
          <pc:docMk/>
          <pc:sldMk cId="1513791665" sldId="2172"/>
        </pc:sldMkLst>
      </pc:sldChg>
      <pc:sldChg chg="add del">
        <pc:chgData name="Aurelien Domont" userId="6da7715ce44349b3" providerId="LiveId" clId="{C37E6FE4-15B9-445D-9A12-9B3805BC54CA}" dt="2021-05-26T05:32:43.332" v="888" actId="47"/>
        <pc:sldMkLst>
          <pc:docMk/>
          <pc:sldMk cId="2826303449" sldId="2174"/>
        </pc:sldMkLst>
      </pc:sldChg>
      <pc:sldChg chg="add del">
        <pc:chgData name="Aurelien Domont" userId="6da7715ce44349b3" providerId="LiveId" clId="{C37E6FE4-15B9-445D-9A12-9B3805BC54CA}" dt="2021-05-26T05:50:28.137" v="1819" actId="47"/>
        <pc:sldMkLst>
          <pc:docMk/>
          <pc:sldMk cId="3324238393" sldId="2175"/>
        </pc:sldMkLst>
      </pc:sldChg>
      <pc:sldChg chg="delSp modSp add del mod ord">
        <pc:chgData name="Aurelien Domont" userId="6da7715ce44349b3" providerId="LiveId" clId="{C37E6FE4-15B9-445D-9A12-9B3805BC54CA}" dt="2021-05-26T05:53:12.137" v="1875" actId="20577"/>
        <pc:sldMkLst>
          <pc:docMk/>
          <pc:sldMk cId="1141822668" sldId="2176"/>
        </pc:sldMkLst>
        <pc:spChg chg="del">
          <ac:chgData name="Aurelien Domont" userId="6da7715ce44349b3" providerId="LiveId" clId="{C37E6FE4-15B9-445D-9A12-9B3805BC54CA}" dt="2021-05-26T05:52:33.660" v="1873" actId="478"/>
          <ac:spMkLst>
            <pc:docMk/>
            <pc:sldMk cId="1141822668" sldId="2176"/>
            <ac:spMk id="10" creationId="{B55C10AF-D7B8-4125-9466-6A5D3903FBF2}"/>
          </ac:spMkLst>
        </pc:spChg>
        <pc:spChg chg="mod">
          <ac:chgData name="Aurelien Domont" userId="6da7715ce44349b3" providerId="LiveId" clId="{C37E6FE4-15B9-445D-9A12-9B3805BC54CA}" dt="2021-05-26T05:53:12.137" v="1875" actId="20577"/>
          <ac:spMkLst>
            <pc:docMk/>
            <pc:sldMk cId="1141822668" sldId="2176"/>
            <ac:spMk id="16" creationId="{6C2BB713-9637-4B9B-938F-E9768876782A}"/>
          </ac:spMkLst>
        </pc:spChg>
      </pc:sldChg>
      <pc:sldChg chg="add del">
        <pc:chgData name="Aurelien Domont" userId="6da7715ce44349b3" providerId="LiveId" clId="{C37E6FE4-15B9-445D-9A12-9B3805BC54CA}" dt="2021-05-26T04:52:30.084" v="34" actId="47"/>
        <pc:sldMkLst>
          <pc:docMk/>
          <pc:sldMk cId="483759661" sldId="2178"/>
        </pc:sldMkLst>
      </pc:sldChg>
      <pc:sldChg chg="add del">
        <pc:chgData name="Aurelien Domont" userId="6da7715ce44349b3" providerId="LiveId" clId="{C37E6FE4-15B9-445D-9A12-9B3805BC54CA}" dt="2021-05-26T05:31:27.414" v="881" actId="47"/>
        <pc:sldMkLst>
          <pc:docMk/>
          <pc:sldMk cId="3746824585" sldId="2179"/>
        </pc:sldMkLst>
      </pc:sldChg>
      <pc:sldChg chg="add del">
        <pc:chgData name="Aurelien Domont" userId="6da7715ce44349b3" providerId="LiveId" clId="{C37E6FE4-15B9-445D-9A12-9B3805BC54CA}" dt="2021-05-26T05:31:29.943" v="884" actId="47"/>
        <pc:sldMkLst>
          <pc:docMk/>
          <pc:sldMk cId="3509969141" sldId="2180"/>
        </pc:sldMkLst>
      </pc:sldChg>
      <pc:sldChg chg="add del">
        <pc:chgData name="Aurelien Domont" userId="6da7715ce44349b3" providerId="LiveId" clId="{C37E6FE4-15B9-445D-9A12-9B3805BC54CA}" dt="2021-05-26T05:50:28.137" v="1819" actId="47"/>
        <pc:sldMkLst>
          <pc:docMk/>
          <pc:sldMk cId="4076367213" sldId="2181"/>
        </pc:sldMkLst>
      </pc:sldChg>
      <pc:sldChg chg="add del">
        <pc:chgData name="Aurelien Domont" userId="6da7715ce44349b3" providerId="LiveId" clId="{C37E6FE4-15B9-445D-9A12-9B3805BC54CA}" dt="2021-05-26T05:50:28.137" v="1819" actId="47"/>
        <pc:sldMkLst>
          <pc:docMk/>
          <pc:sldMk cId="3157585659" sldId="2182"/>
        </pc:sldMkLst>
      </pc:sldChg>
      <pc:sldChg chg="modSp mod">
        <pc:chgData name="Aurelien Domont" userId="6da7715ce44349b3" providerId="LiveId" clId="{C37E6FE4-15B9-445D-9A12-9B3805BC54CA}" dt="2021-05-26T04:51:10.598" v="10" actId="108"/>
        <pc:sldMkLst>
          <pc:docMk/>
          <pc:sldMk cId="1110778063" sldId="2183"/>
        </pc:sldMkLst>
        <pc:spChg chg="mod">
          <ac:chgData name="Aurelien Domont" userId="6da7715ce44349b3" providerId="LiveId" clId="{C37E6FE4-15B9-445D-9A12-9B3805BC54CA}" dt="2021-05-26T04:51:10.598" v="10" actId="108"/>
          <ac:spMkLst>
            <pc:docMk/>
            <pc:sldMk cId="1110778063" sldId="2183"/>
            <ac:spMk id="14" creationId="{36A26ACC-668A-45EB-AB81-A5D2319F44E0}"/>
          </ac:spMkLst>
        </pc:spChg>
        <pc:spChg chg="mod">
          <ac:chgData name="Aurelien Domont" userId="6da7715ce44349b3" providerId="LiveId" clId="{C37E6FE4-15B9-445D-9A12-9B3805BC54CA}" dt="2021-05-26T04:51:04.046" v="8" actId="20577"/>
          <ac:spMkLst>
            <pc:docMk/>
            <pc:sldMk cId="1110778063" sldId="2183"/>
            <ac:spMk id="16" creationId="{6C2BB713-9637-4B9B-938F-E9768876782A}"/>
          </ac:spMkLst>
        </pc:spChg>
        <pc:spChg chg="mod">
          <ac:chgData name="Aurelien Domont" userId="6da7715ce44349b3" providerId="LiveId" clId="{C37E6FE4-15B9-445D-9A12-9B3805BC54CA}" dt="2021-05-26T04:51:07.928" v="9" actId="108"/>
          <ac:spMkLst>
            <pc:docMk/>
            <pc:sldMk cId="1110778063" sldId="2183"/>
            <ac:spMk id="18" creationId="{9A832821-28E7-48AC-A8A2-089BEA8CDC39}"/>
          </ac:spMkLst>
        </pc:spChg>
      </pc:sldChg>
      <pc:sldChg chg="delSp modSp add del mod ord">
        <pc:chgData name="Aurelien Domont" userId="6da7715ce44349b3" providerId="LiveId" clId="{C37E6FE4-15B9-445D-9A12-9B3805BC54CA}" dt="2021-05-26T05:51:45.099" v="1835" actId="478"/>
        <pc:sldMkLst>
          <pc:docMk/>
          <pc:sldMk cId="542636106" sldId="2185"/>
        </pc:sldMkLst>
        <pc:spChg chg="del">
          <ac:chgData name="Aurelien Domont" userId="6da7715ce44349b3" providerId="LiveId" clId="{C37E6FE4-15B9-445D-9A12-9B3805BC54CA}" dt="2021-05-26T05:51:45.099" v="1835" actId="478"/>
          <ac:spMkLst>
            <pc:docMk/>
            <pc:sldMk cId="542636106" sldId="2185"/>
            <ac:spMk id="8" creationId="{ECDEB1A2-CCBA-4981-8EBC-1B825B01B41E}"/>
          </ac:spMkLst>
        </pc:spChg>
        <pc:spChg chg="mod">
          <ac:chgData name="Aurelien Domont" userId="6da7715ce44349b3" providerId="LiveId" clId="{C37E6FE4-15B9-445D-9A12-9B3805BC54CA}" dt="2021-05-26T05:51:14.866" v="1831" actId="27636"/>
          <ac:spMkLst>
            <pc:docMk/>
            <pc:sldMk cId="542636106" sldId="2185"/>
            <ac:spMk id="16" creationId="{6C2BB713-9637-4B9B-938F-E9768876782A}"/>
          </ac:spMkLst>
        </pc:spChg>
        <pc:graphicFrameChg chg="mod modGraphic">
          <ac:chgData name="Aurelien Domont" userId="6da7715ce44349b3" providerId="LiveId" clId="{C37E6FE4-15B9-445D-9A12-9B3805BC54CA}" dt="2021-05-26T05:51:32.987" v="1833" actId="207"/>
          <ac:graphicFrameMkLst>
            <pc:docMk/>
            <pc:sldMk cId="542636106" sldId="2185"/>
            <ac:graphicFrameMk id="5" creationId="{EC9A5040-7A95-43F9-B671-0F0285DEB5DD}"/>
          </ac:graphicFrameMkLst>
        </pc:graphicFrameChg>
      </pc:sldChg>
      <pc:sldChg chg="add del">
        <pc:chgData name="Aurelien Domont" userId="6da7715ce44349b3" providerId="LiveId" clId="{C37E6FE4-15B9-445D-9A12-9B3805BC54CA}" dt="2021-05-26T05:52:37.503" v="1874" actId="47"/>
        <pc:sldMkLst>
          <pc:docMk/>
          <pc:sldMk cId="264443487" sldId="2186"/>
        </pc:sldMkLst>
      </pc:sldChg>
      <pc:sldChg chg="addSp modSp add mod">
        <pc:chgData name="Aurelien Domont" userId="6da7715ce44349b3" providerId="LiveId" clId="{C37E6FE4-15B9-445D-9A12-9B3805BC54CA}" dt="2021-05-26T04:52:27.336" v="33" actId="167"/>
        <pc:sldMkLst>
          <pc:docMk/>
          <pc:sldMk cId="1883424115" sldId="2187"/>
        </pc:sldMkLst>
        <pc:spChg chg="add mod ord">
          <ac:chgData name="Aurelien Domont" userId="6da7715ce44349b3" providerId="LiveId" clId="{C37E6FE4-15B9-445D-9A12-9B3805BC54CA}" dt="2021-05-26T04:52:27.336" v="33" actId="167"/>
          <ac:spMkLst>
            <pc:docMk/>
            <pc:sldMk cId="1883424115" sldId="2187"/>
            <ac:spMk id="15" creationId="{7F7B73D2-A592-459F-AABD-FF843772DAB3}"/>
          </ac:spMkLst>
        </pc:spChg>
        <pc:spChg chg="mod">
          <ac:chgData name="Aurelien Domont" userId="6da7715ce44349b3" providerId="LiveId" clId="{C37E6FE4-15B9-445D-9A12-9B3805BC54CA}" dt="2021-05-26T04:51:40.327" v="20" actId="20577"/>
          <ac:spMkLst>
            <pc:docMk/>
            <pc:sldMk cId="1883424115" sldId="2187"/>
            <ac:spMk id="16" creationId="{6C2BB713-9637-4B9B-938F-E9768876782A}"/>
          </ac:spMkLst>
        </pc:spChg>
      </pc:sldChg>
      <pc:sldChg chg="addSp modSp new del mod">
        <pc:chgData name="Aurelien Domont" userId="6da7715ce44349b3" providerId="LiveId" clId="{C37E6FE4-15B9-445D-9A12-9B3805BC54CA}" dt="2021-05-26T05:52:37.503" v="1874" actId="47"/>
        <pc:sldMkLst>
          <pc:docMk/>
          <pc:sldMk cId="1429794406" sldId="2188"/>
        </pc:sldMkLst>
        <pc:spChg chg="add mod">
          <ac:chgData name="Aurelien Domont" userId="6da7715ce44349b3" providerId="LiveId" clId="{C37E6FE4-15B9-445D-9A12-9B3805BC54CA}" dt="2021-05-26T04:52:55.304" v="39" actId="207"/>
          <ac:spMkLst>
            <pc:docMk/>
            <pc:sldMk cId="1429794406" sldId="2188"/>
            <ac:spMk id="3" creationId="{71AD87AC-8CB6-4809-AC99-6A313FD122B8}"/>
          </ac:spMkLst>
        </pc:spChg>
      </pc:sldChg>
      <pc:sldChg chg="modSp add mod">
        <pc:chgData name="Aurelien Domont" userId="6da7715ce44349b3" providerId="LiveId" clId="{C37E6FE4-15B9-445D-9A12-9B3805BC54CA}" dt="2021-05-26T04:54:54.848" v="80" actId="20577"/>
        <pc:sldMkLst>
          <pc:docMk/>
          <pc:sldMk cId="4044835620" sldId="2189"/>
        </pc:sldMkLst>
        <pc:spChg chg="mod">
          <ac:chgData name="Aurelien Domont" userId="6da7715ce44349b3" providerId="LiveId" clId="{C37E6FE4-15B9-445D-9A12-9B3805BC54CA}" dt="2021-05-26T04:54:19.230" v="66" actId="1036"/>
          <ac:spMkLst>
            <pc:docMk/>
            <pc:sldMk cId="4044835620" sldId="2189"/>
            <ac:spMk id="15" creationId="{7F7B73D2-A592-459F-AABD-FF843772DAB3}"/>
          </ac:spMkLst>
        </pc:spChg>
        <pc:spChg chg="mod">
          <ac:chgData name="Aurelien Domont" userId="6da7715ce44349b3" providerId="LiveId" clId="{C37E6FE4-15B9-445D-9A12-9B3805BC54CA}" dt="2021-05-26T04:54:54.848" v="80" actId="20577"/>
          <ac:spMkLst>
            <pc:docMk/>
            <pc:sldMk cId="4044835620" sldId="2189"/>
            <ac:spMk id="16" creationId="{6C2BB713-9637-4B9B-938F-E9768876782A}"/>
          </ac:spMkLst>
        </pc:spChg>
      </pc:sldChg>
      <pc:sldChg chg="modSp add mod">
        <pc:chgData name="Aurelien Domont" userId="6da7715ce44349b3" providerId="LiveId" clId="{C37E6FE4-15B9-445D-9A12-9B3805BC54CA}" dt="2021-05-26T05:08:27.199" v="401" actId="14100"/>
        <pc:sldMkLst>
          <pc:docMk/>
          <pc:sldMk cId="4192609216" sldId="2190"/>
        </pc:sldMkLst>
        <pc:spChg chg="mod">
          <ac:chgData name="Aurelien Domont" userId="6da7715ce44349b3" providerId="LiveId" clId="{C37E6FE4-15B9-445D-9A12-9B3805BC54CA}" dt="2021-05-26T05:08:27.199" v="401" actId="14100"/>
          <ac:spMkLst>
            <pc:docMk/>
            <pc:sldMk cId="4192609216" sldId="2190"/>
            <ac:spMk id="15" creationId="{7F7B73D2-A592-459F-AABD-FF843772DAB3}"/>
          </ac:spMkLst>
        </pc:spChg>
        <pc:spChg chg="mod">
          <ac:chgData name="Aurelien Domont" userId="6da7715ce44349b3" providerId="LiveId" clId="{C37E6FE4-15B9-445D-9A12-9B3805BC54CA}" dt="2021-05-26T04:55:04.622" v="84" actId="20577"/>
          <ac:spMkLst>
            <pc:docMk/>
            <pc:sldMk cId="4192609216" sldId="2190"/>
            <ac:spMk id="16" creationId="{6C2BB713-9637-4B9B-938F-E9768876782A}"/>
          </ac:spMkLst>
        </pc:spChg>
      </pc:sldChg>
      <pc:sldChg chg="addSp delSp modSp add mod ord">
        <pc:chgData name="Aurelien Domont" userId="6da7715ce44349b3" providerId="LiveId" clId="{C37E6FE4-15B9-445D-9A12-9B3805BC54CA}" dt="2021-05-26T06:03:35.220" v="1886" actId="1076"/>
        <pc:sldMkLst>
          <pc:docMk/>
          <pc:sldMk cId="252561860" sldId="2191"/>
        </pc:sldMkLst>
        <pc:spChg chg="add mod">
          <ac:chgData name="Aurelien Domont" userId="6da7715ce44349b3" providerId="LiveId" clId="{C37E6FE4-15B9-445D-9A12-9B3805BC54CA}" dt="2021-05-26T06:03:35.220" v="1886" actId="1076"/>
          <ac:spMkLst>
            <pc:docMk/>
            <pc:sldMk cId="252561860" sldId="2191"/>
            <ac:spMk id="14" creationId="{B5E93639-B5F1-4815-A5B0-724619FCE8D8}"/>
          </ac:spMkLst>
        </pc:spChg>
        <pc:spChg chg="mod">
          <ac:chgData name="Aurelien Domont" userId="6da7715ce44349b3" providerId="LiveId" clId="{C37E6FE4-15B9-445D-9A12-9B3805BC54CA}" dt="2021-05-26T04:59:19.324" v="208" actId="20577"/>
          <ac:spMkLst>
            <pc:docMk/>
            <pc:sldMk cId="252561860" sldId="2191"/>
            <ac:spMk id="16" creationId="{6C2BB713-9637-4B9B-938F-E9768876782A}"/>
          </ac:spMkLst>
        </pc:spChg>
        <pc:spChg chg="del">
          <ac:chgData name="Aurelien Domont" userId="6da7715ce44349b3" providerId="LiveId" clId="{C37E6FE4-15B9-445D-9A12-9B3805BC54CA}" dt="2021-05-26T04:59:29.622" v="209" actId="478"/>
          <ac:spMkLst>
            <pc:docMk/>
            <pc:sldMk cId="252561860" sldId="2191"/>
            <ac:spMk id="17" creationId="{2D67886B-EE66-408F-B12C-0E9272F68B81}"/>
          </ac:spMkLst>
        </pc:spChg>
        <pc:spChg chg="del mod">
          <ac:chgData name="Aurelien Domont" userId="6da7715ce44349b3" providerId="LiveId" clId="{C37E6FE4-15B9-445D-9A12-9B3805BC54CA}" dt="2021-05-26T05:05:55.696" v="338" actId="478"/>
          <ac:spMkLst>
            <pc:docMk/>
            <pc:sldMk cId="252561860" sldId="2191"/>
            <ac:spMk id="18" creationId="{60954C97-03A1-4F8F-82B0-8544FD27A1F8}"/>
          </ac:spMkLst>
        </pc:spChg>
        <pc:spChg chg="add mod">
          <ac:chgData name="Aurelien Domont" userId="6da7715ce44349b3" providerId="LiveId" clId="{C37E6FE4-15B9-445D-9A12-9B3805BC54CA}" dt="2021-05-26T05:05:53.675" v="337" actId="1036"/>
          <ac:spMkLst>
            <pc:docMk/>
            <pc:sldMk cId="252561860" sldId="2191"/>
            <ac:spMk id="19" creationId="{D3085E64-A49E-4AA5-9FB7-6BD6CC0BCC57}"/>
          </ac:spMkLst>
        </pc:spChg>
        <pc:spChg chg="del">
          <ac:chgData name="Aurelien Domont" userId="6da7715ce44349b3" providerId="LiveId" clId="{C37E6FE4-15B9-445D-9A12-9B3805BC54CA}" dt="2021-05-26T04:59:29.622" v="209" actId="478"/>
          <ac:spMkLst>
            <pc:docMk/>
            <pc:sldMk cId="252561860" sldId="2191"/>
            <ac:spMk id="22" creationId="{8E01C535-83E0-4037-A5E0-B048CA9F5839}"/>
          </ac:spMkLst>
        </pc:spChg>
        <pc:spChg chg="del">
          <ac:chgData name="Aurelien Domont" userId="6da7715ce44349b3" providerId="LiveId" clId="{C37E6FE4-15B9-445D-9A12-9B3805BC54CA}" dt="2021-05-26T04:59:29.622" v="209" actId="478"/>
          <ac:spMkLst>
            <pc:docMk/>
            <pc:sldMk cId="252561860" sldId="2191"/>
            <ac:spMk id="23" creationId="{4D5D024D-039F-4F29-88DA-E3E10AADB75F}"/>
          </ac:spMkLst>
        </pc:spChg>
        <pc:spChg chg="del">
          <ac:chgData name="Aurelien Domont" userId="6da7715ce44349b3" providerId="LiveId" clId="{C37E6FE4-15B9-445D-9A12-9B3805BC54CA}" dt="2021-05-26T04:59:29.622" v="209" actId="478"/>
          <ac:spMkLst>
            <pc:docMk/>
            <pc:sldMk cId="252561860" sldId="2191"/>
            <ac:spMk id="24" creationId="{8A395014-5D91-404D-AC40-583B7E33212D}"/>
          </ac:spMkLst>
        </pc:spChg>
        <pc:spChg chg="del">
          <ac:chgData name="Aurelien Domont" userId="6da7715ce44349b3" providerId="LiveId" clId="{C37E6FE4-15B9-445D-9A12-9B3805BC54CA}" dt="2021-05-26T04:59:29.622" v="209" actId="478"/>
          <ac:spMkLst>
            <pc:docMk/>
            <pc:sldMk cId="252561860" sldId="2191"/>
            <ac:spMk id="30" creationId="{0C4DDDBF-6224-4C18-9535-80D724B5A005}"/>
          </ac:spMkLst>
        </pc:spChg>
        <pc:spChg chg="del">
          <ac:chgData name="Aurelien Domont" userId="6da7715ce44349b3" providerId="LiveId" clId="{C37E6FE4-15B9-445D-9A12-9B3805BC54CA}" dt="2021-05-26T04:59:29.622" v="209" actId="478"/>
          <ac:spMkLst>
            <pc:docMk/>
            <pc:sldMk cId="252561860" sldId="2191"/>
            <ac:spMk id="31" creationId="{36C80EE7-A952-4C06-AEBC-36E279DA82B4}"/>
          </ac:spMkLst>
        </pc:spChg>
        <pc:spChg chg="del">
          <ac:chgData name="Aurelien Domont" userId="6da7715ce44349b3" providerId="LiveId" clId="{C37E6FE4-15B9-445D-9A12-9B3805BC54CA}" dt="2021-05-26T04:59:29.622" v="209" actId="478"/>
          <ac:spMkLst>
            <pc:docMk/>
            <pc:sldMk cId="252561860" sldId="2191"/>
            <ac:spMk id="32" creationId="{704C159A-FC4B-49F3-8352-D1D4BA4034E5}"/>
          </ac:spMkLst>
        </pc:spChg>
        <pc:spChg chg="del">
          <ac:chgData name="Aurelien Domont" userId="6da7715ce44349b3" providerId="LiveId" clId="{C37E6FE4-15B9-445D-9A12-9B3805BC54CA}" dt="2021-05-26T04:59:34.253" v="210" actId="478"/>
          <ac:spMkLst>
            <pc:docMk/>
            <pc:sldMk cId="252561860" sldId="2191"/>
            <ac:spMk id="33" creationId="{AA35D460-C892-4B10-9EC0-CBB254784F0F}"/>
          </ac:spMkLst>
        </pc:spChg>
        <pc:spChg chg="del">
          <ac:chgData name="Aurelien Domont" userId="6da7715ce44349b3" providerId="LiveId" clId="{C37E6FE4-15B9-445D-9A12-9B3805BC54CA}" dt="2021-05-26T04:59:29.622" v="209" actId="478"/>
          <ac:spMkLst>
            <pc:docMk/>
            <pc:sldMk cId="252561860" sldId="2191"/>
            <ac:spMk id="34" creationId="{A9CD1C23-B252-4F5C-B241-662F7FC0E014}"/>
          </ac:spMkLst>
        </pc:spChg>
        <pc:spChg chg="del">
          <ac:chgData name="Aurelien Domont" userId="6da7715ce44349b3" providerId="LiveId" clId="{C37E6FE4-15B9-445D-9A12-9B3805BC54CA}" dt="2021-05-26T04:59:29.622" v="209" actId="478"/>
          <ac:spMkLst>
            <pc:docMk/>
            <pc:sldMk cId="252561860" sldId="2191"/>
            <ac:spMk id="35" creationId="{1840DC24-6AD9-4A79-9CFD-8E3CECC35C55}"/>
          </ac:spMkLst>
        </pc:spChg>
        <pc:spChg chg="del">
          <ac:chgData name="Aurelien Domont" userId="6da7715ce44349b3" providerId="LiveId" clId="{C37E6FE4-15B9-445D-9A12-9B3805BC54CA}" dt="2021-05-26T04:59:29.622" v="209" actId="478"/>
          <ac:spMkLst>
            <pc:docMk/>
            <pc:sldMk cId="252561860" sldId="2191"/>
            <ac:spMk id="36" creationId="{80E41528-6D0D-49D0-B90D-0FBB3C43E966}"/>
          </ac:spMkLst>
        </pc:spChg>
        <pc:spChg chg="del">
          <ac:chgData name="Aurelien Domont" userId="6da7715ce44349b3" providerId="LiveId" clId="{C37E6FE4-15B9-445D-9A12-9B3805BC54CA}" dt="2021-05-26T04:59:29.622" v="209" actId="478"/>
          <ac:spMkLst>
            <pc:docMk/>
            <pc:sldMk cId="252561860" sldId="2191"/>
            <ac:spMk id="37" creationId="{6F8476AC-84C9-4CCE-A24B-70A1AC14E37C}"/>
          </ac:spMkLst>
        </pc:spChg>
        <pc:spChg chg="del">
          <ac:chgData name="Aurelien Domont" userId="6da7715ce44349b3" providerId="LiveId" clId="{C37E6FE4-15B9-445D-9A12-9B3805BC54CA}" dt="2021-05-26T04:59:34.253" v="210" actId="478"/>
          <ac:spMkLst>
            <pc:docMk/>
            <pc:sldMk cId="252561860" sldId="2191"/>
            <ac:spMk id="38" creationId="{ADBAC328-B66A-48C6-A762-CEADDF413E82}"/>
          </ac:spMkLst>
        </pc:spChg>
        <pc:spChg chg="add mod">
          <ac:chgData name="Aurelien Domont" userId="6da7715ce44349b3" providerId="LiveId" clId="{C37E6FE4-15B9-445D-9A12-9B3805BC54CA}" dt="2021-05-26T05:34:00.693" v="903" actId="20577"/>
          <ac:spMkLst>
            <pc:docMk/>
            <pc:sldMk cId="252561860" sldId="2191"/>
            <ac:spMk id="39" creationId="{0E0B70C6-5AF7-455A-A384-416383514AD8}"/>
          </ac:spMkLst>
        </pc:spChg>
        <pc:spChg chg="add mod">
          <ac:chgData name="Aurelien Domont" userId="6da7715ce44349b3" providerId="LiveId" clId="{C37E6FE4-15B9-445D-9A12-9B3805BC54CA}" dt="2021-05-26T05:34:01.626" v="904" actId="20577"/>
          <ac:spMkLst>
            <pc:docMk/>
            <pc:sldMk cId="252561860" sldId="2191"/>
            <ac:spMk id="41" creationId="{096C5C5F-D174-4BC9-82B9-0BC01998CD1A}"/>
          </ac:spMkLst>
        </pc:spChg>
        <pc:spChg chg="del">
          <ac:chgData name="Aurelien Domont" userId="6da7715ce44349b3" providerId="LiveId" clId="{C37E6FE4-15B9-445D-9A12-9B3805BC54CA}" dt="2021-05-26T04:59:29.622" v="209" actId="478"/>
          <ac:spMkLst>
            <pc:docMk/>
            <pc:sldMk cId="252561860" sldId="2191"/>
            <ac:spMk id="43" creationId="{CDAC9E33-CD3F-46AE-9A3B-1D828686C6DB}"/>
          </ac:spMkLst>
        </pc:spChg>
        <pc:spChg chg="del">
          <ac:chgData name="Aurelien Domont" userId="6da7715ce44349b3" providerId="LiveId" clId="{C37E6FE4-15B9-445D-9A12-9B3805BC54CA}" dt="2021-05-26T04:59:29.622" v="209" actId="478"/>
          <ac:spMkLst>
            <pc:docMk/>
            <pc:sldMk cId="252561860" sldId="2191"/>
            <ac:spMk id="44" creationId="{58FFB25E-48BE-49EC-AB5F-4B39FDBC21EA}"/>
          </ac:spMkLst>
        </pc:spChg>
        <pc:spChg chg="add mod">
          <ac:chgData name="Aurelien Domont" userId="6da7715ce44349b3" providerId="LiveId" clId="{C37E6FE4-15B9-445D-9A12-9B3805BC54CA}" dt="2021-05-26T05:05:53.675" v="337" actId="1036"/>
          <ac:spMkLst>
            <pc:docMk/>
            <pc:sldMk cId="252561860" sldId="2191"/>
            <ac:spMk id="46" creationId="{EB357721-E879-406E-B6C9-A00B77C40A14}"/>
          </ac:spMkLst>
        </pc:spChg>
        <pc:picChg chg="add mod">
          <ac:chgData name="Aurelien Domont" userId="6da7715ce44349b3" providerId="LiveId" clId="{C37E6FE4-15B9-445D-9A12-9B3805BC54CA}" dt="2021-05-26T05:05:15.113" v="317" actId="1076"/>
          <ac:picMkLst>
            <pc:docMk/>
            <pc:sldMk cId="252561860" sldId="2191"/>
            <ac:picMk id="4" creationId="{9E3215DB-FE8C-4F07-9CBD-3D44D722D0D3}"/>
          </ac:picMkLst>
        </pc:picChg>
        <pc:picChg chg="add mod">
          <ac:chgData name="Aurelien Domont" userId="6da7715ce44349b3" providerId="LiveId" clId="{C37E6FE4-15B9-445D-9A12-9B3805BC54CA}" dt="2021-05-26T05:05:29.975" v="321" actId="1076"/>
          <ac:picMkLst>
            <pc:docMk/>
            <pc:sldMk cId="252561860" sldId="2191"/>
            <ac:picMk id="6" creationId="{137244FF-4023-459B-BD6D-822DA0130AB3}"/>
          </ac:picMkLst>
        </pc:picChg>
        <pc:picChg chg="add mod">
          <ac:chgData name="Aurelien Domont" userId="6da7715ce44349b3" providerId="LiveId" clId="{C37E6FE4-15B9-445D-9A12-9B3805BC54CA}" dt="2021-05-26T05:05:45.060" v="325" actId="1076"/>
          <ac:picMkLst>
            <pc:docMk/>
            <pc:sldMk cId="252561860" sldId="2191"/>
            <ac:picMk id="8" creationId="{1A1AE8A9-F556-434F-80D3-136B724E8D9C}"/>
          </ac:picMkLst>
        </pc:picChg>
        <pc:picChg chg="add del mod">
          <ac:chgData name="Aurelien Domont" userId="6da7715ce44349b3" providerId="LiveId" clId="{C37E6FE4-15B9-445D-9A12-9B3805BC54CA}" dt="2021-05-26T05:04:57.726" v="312" actId="478"/>
          <ac:picMkLst>
            <pc:docMk/>
            <pc:sldMk cId="252561860" sldId="2191"/>
            <ac:picMk id="10" creationId="{9B780F67-4CCA-447B-882C-044BD033562A}"/>
          </ac:picMkLst>
        </pc:picChg>
        <pc:picChg chg="add del mod">
          <ac:chgData name="Aurelien Domont" userId="6da7715ce44349b3" providerId="LiveId" clId="{C37E6FE4-15B9-445D-9A12-9B3805BC54CA}" dt="2021-05-26T05:04:57.726" v="312" actId="478"/>
          <ac:picMkLst>
            <pc:docMk/>
            <pc:sldMk cId="252561860" sldId="2191"/>
            <ac:picMk id="12" creationId="{259E3E66-3DE8-43A8-A166-CCA9470427F0}"/>
          </ac:picMkLst>
        </pc:picChg>
        <pc:picChg chg="add mod">
          <ac:chgData name="Aurelien Domont" userId="6da7715ce44349b3" providerId="LiveId" clId="{C37E6FE4-15B9-445D-9A12-9B3805BC54CA}" dt="2021-05-26T05:05:11.167" v="315" actId="1076"/>
          <ac:picMkLst>
            <pc:docMk/>
            <pc:sldMk cId="252561860" sldId="2191"/>
            <ac:picMk id="15" creationId="{C7EF3C36-0F1D-4A9A-9539-0653C9A6EB35}"/>
          </ac:picMkLst>
        </pc:picChg>
        <pc:picChg chg="add del mod">
          <ac:chgData name="Aurelien Domont" userId="6da7715ce44349b3" providerId="LiveId" clId="{C37E6FE4-15B9-445D-9A12-9B3805BC54CA}" dt="2021-05-26T05:04:19.831" v="269" actId="478"/>
          <ac:picMkLst>
            <pc:docMk/>
            <pc:sldMk cId="252561860" sldId="2191"/>
            <ac:picMk id="40" creationId="{19957E5C-C3F9-4C46-A425-D776F7FAAA3F}"/>
          </ac:picMkLst>
        </pc:picChg>
        <pc:picChg chg="add del mod">
          <ac:chgData name="Aurelien Domont" userId="6da7715ce44349b3" providerId="LiveId" clId="{C37E6FE4-15B9-445D-9A12-9B3805BC54CA}" dt="2021-05-26T05:04:53.487" v="310" actId="478"/>
          <ac:picMkLst>
            <pc:docMk/>
            <pc:sldMk cId="252561860" sldId="2191"/>
            <ac:picMk id="42" creationId="{FC311582-3C4C-4E6A-AB47-04233C4E1D73}"/>
          </ac:picMkLst>
        </pc:picChg>
        <pc:picChg chg="add del mod">
          <ac:chgData name="Aurelien Domont" userId="6da7715ce44349b3" providerId="LiveId" clId="{C37E6FE4-15B9-445D-9A12-9B3805BC54CA}" dt="2021-05-26T05:04:57.726" v="312" actId="478"/>
          <ac:picMkLst>
            <pc:docMk/>
            <pc:sldMk cId="252561860" sldId="2191"/>
            <ac:picMk id="45" creationId="{B38067FC-548B-4607-9FAA-990276C9A577}"/>
          </ac:picMkLst>
        </pc:picChg>
      </pc:sldChg>
      <pc:sldChg chg="addSp delSp modSp add mod">
        <pc:chgData name="Aurelien Domont" userId="6da7715ce44349b3" providerId="LiveId" clId="{C37E6FE4-15B9-445D-9A12-9B3805BC54CA}" dt="2021-05-26T05:10:26.946" v="488" actId="20577"/>
        <pc:sldMkLst>
          <pc:docMk/>
          <pc:sldMk cId="1291775963" sldId="2192"/>
        </pc:sldMkLst>
        <pc:spChg chg="add mod">
          <ac:chgData name="Aurelien Domont" userId="6da7715ce44349b3" providerId="LiveId" clId="{C37E6FE4-15B9-445D-9A12-9B3805BC54CA}" dt="2021-05-26T05:07:11.736" v="368"/>
          <ac:spMkLst>
            <pc:docMk/>
            <pc:sldMk cId="1291775963" sldId="2192"/>
            <ac:spMk id="14" creationId="{167494EE-7FB6-441C-A7C0-E179E5454E91}"/>
          </ac:spMkLst>
        </pc:spChg>
        <pc:spChg chg="mod">
          <ac:chgData name="Aurelien Domont" userId="6da7715ce44349b3" providerId="LiveId" clId="{C37E6FE4-15B9-445D-9A12-9B3805BC54CA}" dt="2021-05-26T05:10:26.946" v="488" actId="20577"/>
          <ac:spMkLst>
            <pc:docMk/>
            <pc:sldMk cId="1291775963" sldId="2192"/>
            <ac:spMk id="16" creationId="{6C2BB713-9637-4B9B-938F-E9768876782A}"/>
          </ac:spMkLst>
        </pc:spChg>
        <pc:spChg chg="add mod">
          <ac:chgData name="Aurelien Domont" userId="6da7715ce44349b3" providerId="LiveId" clId="{C37E6FE4-15B9-445D-9A12-9B3805BC54CA}" dt="2021-05-26T05:07:32.420" v="396" actId="20577"/>
          <ac:spMkLst>
            <pc:docMk/>
            <pc:sldMk cId="1291775963" sldId="2192"/>
            <ac:spMk id="17" creationId="{04528831-2C34-48CB-B79E-30696FB22302}"/>
          </ac:spMkLst>
        </pc:spChg>
        <pc:spChg chg="add mod">
          <ac:chgData name="Aurelien Domont" userId="6da7715ce44349b3" providerId="LiveId" clId="{C37E6FE4-15B9-445D-9A12-9B3805BC54CA}" dt="2021-05-26T05:07:11.736" v="368"/>
          <ac:spMkLst>
            <pc:docMk/>
            <pc:sldMk cId="1291775963" sldId="2192"/>
            <ac:spMk id="18" creationId="{844688B4-3975-472F-AF9B-53B7020687A9}"/>
          </ac:spMkLst>
        </pc:spChg>
        <pc:spChg chg="del">
          <ac:chgData name="Aurelien Domont" userId="6da7715ce44349b3" providerId="LiveId" clId="{C37E6FE4-15B9-445D-9A12-9B3805BC54CA}" dt="2021-05-26T05:06:40.863" v="366" actId="478"/>
          <ac:spMkLst>
            <pc:docMk/>
            <pc:sldMk cId="1291775963" sldId="2192"/>
            <ac:spMk id="19" creationId="{D3085E64-A49E-4AA5-9FB7-6BD6CC0BCC57}"/>
          </ac:spMkLst>
        </pc:spChg>
        <pc:spChg chg="add mod">
          <ac:chgData name="Aurelien Domont" userId="6da7715ce44349b3" providerId="LiveId" clId="{C37E6FE4-15B9-445D-9A12-9B3805BC54CA}" dt="2021-05-26T05:07:35.663" v="397"/>
          <ac:spMkLst>
            <pc:docMk/>
            <pc:sldMk cId="1291775963" sldId="2192"/>
            <ac:spMk id="20" creationId="{D6436089-34A2-4772-B070-2765BB60AFD0}"/>
          </ac:spMkLst>
        </pc:spChg>
        <pc:spChg chg="add mod">
          <ac:chgData name="Aurelien Domont" userId="6da7715ce44349b3" providerId="LiveId" clId="{C37E6FE4-15B9-445D-9A12-9B3805BC54CA}" dt="2021-05-26T05:07:11.736" v="368"/>
          <ac:spMkLst>
            <pc:docMk/>
            <pc:sldMk cId="1291775963" sldId="2192"/>
            <ac:spMk id="21" creationId="{6D0E7658-01F1-4B95-913E-D94DF351F186}"/>
          </ac:spMkLst>
        </pc:spChg>
        <pc:spChg chg="add mod">
          <ac:chgData name="Aurelien Domont" userId="6da7715ce44349b3" providerId="LiveId" clId="{C37E6FE4-15B9-445D-9A12-9B3805BC54CA}" dt="2021-05-26T05:07:36.840" v="398"/>
          <ac:spMkLst>
            <pc:docMk/>
            <pc:sldMk cId="1291775963" sldId="2192"/>
            <ac:spMk id="22" creationId="{8CC6436D-F35C-4871-BE0F-1421BBDCB2CF}"/>
          </ac:spMkLst>
        </pc:spChg>
        <pc:spChg chg="add mod">
          <ac:chgData name="Aurelien Domont" userId="6da7715ce44349b3" providerId="LiveId" clId="{C37E6FE4-15B9-445D-9A12-9B3805BC54CA}" dt="2021-05-26T05:07:11.736" v="368"/>
          <ac:spMkLst>
            <pc:docMk/>
            <pc:sldMk cId="1291775963" sldId="2192"/>
            <ac:spMk id="23" creationId="{86A65187-C9AE-43F0-B283-8A6E0BA61A34}"/>
          </ac:spMkLst>
        </pc:spChg>
        <pc:spChg chg="add mod">
          <ac:chgData name="Aurelien Domont" userId="6da7715ce44349b3" providerId="LiveId" clId="{C37E6FE4-15B9-445D-9A12-9B3805BC54CA}" dt="2021-05-26T05:07:38.183" v="399"/>
          <ac:spMkLst>
            <pc:docMk/>
            <pc:sldMk cId="1291775963" sldId="2192"/>
            <ac:spMk id="24" creationId="{174C1F3C-6792-4FF0-9605-123ECED1D1A0}"/>
          </ac:spMkLst>
        </pc:spChg>
        <pc:spChg chg="add mod">
          <ac:chgData name="Aurelien Domont" userId="6da7715ce44349b3" providerId="LiveId" clId="{C37E6FE4-15B9-445D-9A12-9B3805BC54CA}" dt="2021-05-26T05:07:11.736" v="368"/>
          <ac:spMkLst>
            <pc:docMk/>
            <pc:sldMk cId="1291775963" sldId="2192"/>
            <ac:spMk id="25" creationId="{B92C5BC4-C415-4EA1-A9C5-A2C13FADD5E3}"/>
          </ac:spMkLst>
        </pc:spChg>
        <pc:spChg chg="add mod">
          <ac:chgData name="Aurelien Domont" userId="6da7715ce44349b3" providerId="LiveId" clId="{C37E6FE4-15B9-445D-9A12-9B3805BC54CA}" dt="2021-05-26T05:07:39.378" v="400"/>
          <ac:spMkLst>
            <pc:docMk/>
            <pc:sldMk cId="1291775963" sldId="2192"/>
            <ac:spMk id="26" creationId="{F1C4F8FD-C173-4C86-B0EF-40E235CCD39D}"/>
          </ac:spMkLst>
        </pc:spChg>
        <pc:spChg chg="add mod">
          <ac:chgData name="Aurelien Domont" userId="6da7715ce44349b3" providerId="LiveId" clId="{C37E6FE4-15B9-445D-9A12-9B3805BC54CA}" dt="2021-05-26T05:07:18.529" v="379" actId="20577"/>
          <ac:spMkLst>
            <pc:docMk/>
            <pc:sldMk cId="1291775963" sldId="2192"/>
            <ac:spMk id="27" creationId="{3C7BF620-7666-4029-874D-B6D841967A7E}"/>
          </ac:spMkLst>
        </pc:spChg>
        <pc:spChg chg="add mod">
          <ac:chgData name="Aurelien Domont" userId="6da7715ce44349b3" providerId="LiveId" clId="{C37E6FE4-15B9-445D-9A12-9B3805BC54CA}" dt="2021-05-26T05:07:22.303" v="380"/>
          <ac:spMkLst>
            <pc:docMk/>
            <pc:sldMk cId="1291775963" sldId="2192"/>
            <ac:spMk id="28" creationId="{48E2BB3E-102E-456D-99C5-79D56D89D77B}"/>
          </ac:spMkLst>
        </pc:spChg>
        <pc:spChg chg="add mod">
          <ac:chgData name="Aurelien Domont" userId="6da7715ce44349b3" providerId="LiveId" clId="{C37E6FE4-15B9-445D-9A12-9B3805BC54CA}" dt="2021-05-26T05:07:23.568" v="381"/>
          <ac:spMkLst>
            <pc:docMk/>
            <pc:sldMk cId="1291775963" sldId="2192"/>
            <ac:spMk id="29" creationId="{8B5BBAA7-ED10-47C1-90CD-21712EAC44E2}"/>
          </ac:spMkLst>
        </pc:spChg>
        <pc:spChg chg="add mod">
          <ac:chgData name="Aurelien Domont" userId="6da7715ce44349b3" providerId="LiveId" clId="{C37E6FE4-15B9-445D-9A12-9B3805BC54CA}" dt="2021-05-26T05:07:24.685" v="382"/>
          <ac:spMkLst>
            <pc:docMk/>
            <pc:sldMk cId="1291775963" sldId="2192"/>
            <ac:spMk id="30" creationId="{AB766A37-68EE-4AF7-AD2F-05B138800BE7}"/>
          </ac:spMkLst>
        </pc:spChg>
        <pc:spChg chg="add mod">
          <ac:chgData name="Aurelien Domont" userId="6da7715ce44349b3" providerId="LiveId" clId="{C37E6FE4-15B9-445D-9A12-9B3805BC54CA}" dt="2021-05-26T05:07:25.871" v="383"/>
          <ac:spMkLst>
            <pc:docMk/>
            <pc:sldMk cId="1291775963" sldId="2192"/>
            <ac:spMk id="31" creationId="{33E19E24-2D25-41F3-874E-953472B7BA9D}"/>
          </ac:spMkLst>
        </pc:spChg>
        <pc:spChg chg="del">
          <ac:chgData name="Aurelien Domont" userId="6da7715ce44349b3" providerId="LiveId" clId="{C37E6FE4-15B9-445D-9A12-9B3805BC54CA}" dt="2021-05-26T05:06:40.863" v="366" actId="478"/>
          <ac:spMkLst>
            <pc:docMk/>
            <pc:sldMk cId="1291775963" sldId="2192"/>
            <ac:spMk id="39" creationId="{0E0B70C6-5AF7-455A-A384-416383514AD8}"/>
          </ac:spMkLst>
        </pc:spChg>
        <pc:spChg chg="del">
          <ac:chgData name="Aurelien Domont" userId="6da7715ce44349b3" providerId="LiveId" clId="{C37E6FE4-15B9-445D-9A12-9B3805BC54CA}" dt="2021-05-26T05:06:40.863" v="366" actId="478"/>
          <ac:spMkLst>
            <pc:docMk/>
            <pc:sldMk cId="1291775963" sldId="2192"/>
            <ac:spMk id="41" creationId="{096C5C5F-D174-4BC9-82B9-0BC01998CD1A}"/>
          </ac:spMkLst>
        </pc:spChg>
        <pc:spChg chg="del">
          <ac:chgData name="Aurelien Domont" userId="6da7715ce44349b3" providerId="LiveId" clId="{C37E6FE4-15B9-445D-9A12-9B3805BC54CA}" dt="2021-05-26T05:06:40.863" v="366" actId="478"/>
          <ac:spMkLst>
            <pc:docMk/>
            <pc:sldMk cId="1291775963" sldId="2192"/>
            <ac:spMk id="46" creationId="{EB357721-E879-406E-B6C9-A00B77C40A14}"/>
          </ac:spMkLst>
        </pc:spChg>
        <pc:picChg chg="del">
          <ac:chgData name="Aurelien Domont" userId="6da7715ce44349b3" providerId="LiveId" clId="{C37E6FE4-15B9-445D-9A12-9B3805BC54CA}" dt="2021-05-26T05:06:40.863" v="366" actId="478"/>
          <ac:picMkLst>
            <pc:docMk/>
            <pc:sldMk cId="1291775963" sldId="2192"/>
            <ac:picMk id="4" creationId="{9E3215DB-FE8C-4F07-9CBD-3D44D722D0D3}"/>
          </ac:picMkLst>
        </pc:picChg>
        <pc:picChg chg="del">
          <ac:chgData name="Aurelien Domont" userId="6da7715ce44349b3" providerId="LiveId" clId="{C37E6FE4-15B9-445D-9A12-9B3805BC54CA}" dt="2021-05-26T05:06:40.863" v="366" actId="478"/>
          <ac:picMkLst>
            <pc:docMk/>
            <pc:sldMk cId="1291775963" sldId="2192"/>
            <ac:picMk id="6" creationId="{137244FF-4023-459B-BD6D-822DA0130AB3}"/>
          </ac:picMkLst>
        </pc:picChg>
        <pc:picChg chg="del">
          <ac:chgData name="Aurelien Domont" userId="6da7715ce44349b3" providerId="LiveId" clId="{C37E6FE4-15B9-445D-9A12-9B3805BC54CA}" dt="2021-05-26T05:06:40.863" v="366" actId="478"/>
          <ac:picMkLst>
            <pc:docMk/>
            <pc:sldMk cId="1291775963" sldId="2192"/>
            <ac:picMk id="8" creationId="{1A1AE8A9-F556-434F-80D3-136B724E8D9C}"/>
          </ac:picMkLst>
        </pc:picChg>
        <pc:picChg chg="del">
          <ac:chgData name="Aurelien Domont" userId="6da7715ce44349b3" providerId="LiveId" clId="{C37E6FE4-15B9-445D-9A12-9B3805BC54CA}" dt="2021-05-26T05:06:40.863" v="366" actId="478"/>
          <ac:picMkLst>
            <pc:docMk/>
            <pc:sldMk cId="1291775963" sldId="2192"/>
            <ac:picMk id="15" creationId="{C7EF3C36-0F1D-4A9A-9539-0653C9A6EB35}"/>
          </ac:picMkLst>
        </pc:picChg>
      </pc:sldChg>
      <pc:sldChg chg="modSp add mod">
        <pc:chgData name="Aurelien Domont" userId="6da7715ce44349b3" providerId="LiveId" clId="{C37E6FE4-15B9-445D-9A12-9B3805BC54CA}" dt="2021-05-26T05:09:04.122" v="424" actId="20577"/>
        <pc:sldMkLst>
          <pc:docMk/>
          <pc:sldMk cId="1499175507" sldId="2193"/>
        </pc:sldMkLst>
        <pc:spChg chg="mod">
          <ac:chgData name="Aurelien Domont" userId="6da7715ce44349b3" providerId="LiveId" clId="{C37E6FE4-15B9-445D-9A12-9B3805BC54CA}" dt="2021-05-26T05:08:39.650" v="420" actId="1035"/>
          <ac:spMkLst>
            <pc:docMk/>
            <pc:sldMk cId="1499175507" sldId="2193"/>
            <ac:spMk id="15" creationId="{7F7B73D2-A592-459F-AABD-FF843772DAB3}"/>
          </ac:spMkLst>
        </pc:spChg>
        <pc:spChg chg="mod">
          <ac:chgData name="Aurelien Domont" userId="6da7715ce44349b3" providerId="LiveId" clId="{C37E6FE4-15B9-445D-9A12-9B3805BC54CA}" dt="2021-05-26T05:09:04.122" v="424" actId="20577"/>
          <ac:spMkLst>
            <pc:docMk/>
            <pc:sldMk cId="1499175507" sldId="2193"/>
            <ac:spMk id="16" creationId="{6C2BB713-9637-4B9B-938F-E9768876782A}"/>
          </ac:spMkLst>
        </pc:spChg>
      </pc:sldChg>
      <pc:sldChg chg="addSp delSp modSp add del mod">
        <pc:chgData name="Aurelien Domont" userId="6da7715ce44349b3" providerId="LiveId" clId="{C37E6FE4-15B9-445D-9A12-9B3805BC54CA}" dt="2021-05-26T05:26:47.942" v="620" actId="47"/>
        <pc:sldMkLst>
          <pc:docMk/>
          <pc:sldMk cId="1757238669" sldId="2194"/>
        </pc:sldMkLst>
        <pc:spChg chg="add del mod">
          <ac:chgData name="Aurelien Domont" userId="6da7715ce44349b3" providerId="LiveId" clId="{C37E6FE4-15B9-445D-9A12-9B3805BC54CA}" dt="2021-05-26T05:17:00.068" v="520" actId="478"/>
          <ac:spMkLst>
            <pc:docMk/>
            <pc:sldMk cId="1757238669" sldId="2194"/>
            <ac:spMk id="2" creationId="{E2E70413-CA79-49D5-82BC-B6E1E8EEC277}"/>
          </ac:spMkLst>
        </pc:spChg>
        <pc:spChg chg="add del mod">
          <ac:chgData name="Aurelien Domont" userId="6da7715ce44349b3" providerId="LiveId" clId="{C37E6FE4-15B9-445D-9A12-9B3805BC54CA}" dt="2021-05-26T05:12:37.312" v="515" actId="478"/>
          <ac:spMkLst>
            <pc:docMk/>
            <pc:sldMk cId="1757238669" sldId="2194"/>
            <ac:spMk id="14" creationId="{16ACBEBD-5888-44FA-BB6F-481BF942B8A6}"/>
          </ac:spMkLst>
        </pc:spChg>
        <pc:spChg chg="mod">
          <ac:chgData name="Aurelien Domont" userId="6da7715ce44349b3" providerId="LiveId" clId="{C37E6FE4-15B9-445D-9A12-9B3805BC54CA}" dt="2021-05-26T05:16:57.382" v="519" actId="20577"/>
          <ac:spMkLst>
            <pc:docMk/>
            <pc:sldMk cId="1757238669" sldId="2194"/>
            <ac:spMk id="16" creationId="{6C2BB713-9637-4B9B-938F-E9768876782A}"/>
          </ac:spMkLst>
        </pc:spChg>
        <pc:spChg chg="add del mod">
          <ac:chgData name="Aurelien Domont" userId="6da7715ce44349b3" providerId="LiveId" clId="{C37E6FE4-15B9-445D-9A12-9B3805BC54CA}" dt="2021-05-26T05:12:37.312" v="515" actId="478"/>
          <ac:spMkLst>
            <pc:docMk/>
            <pc:sldMk cId="1757238669" sldId="2194"/>
            <ac:spMk id="17" creationId="{34478523-8E98-42FD-ABFF-537E78088C88}"/>
          </ac:spMkLst>
        </pc:spChg>
        <pc:spChg chg="add del mod">
          <ac:chgData name="Aurelien Domont" userId="6da7715ce44349b3" providerId="LiveId" clId="{C37E6FE4-15B9-445D-9A12-9B3805BC54CA}" dt="2021-05-26T05:12:37.312" v="515" actId="478"/>
          <ac:spMkLst>
            <pc:docMk/>
            <pc:sldMk cId="1757238669" sldId="2194"/>
            <ac:spMk id="18" creationId="{710B8045-8D7D-4140-A015-AF1D85227E70}"/>
          </ac:spMkLst>
        </pc:spChg>
        <pc:spChg chg="del">
          <ac:chgData name="Aurelien Domont" userId="6da7715ce44349b3" providerId="LiveId" clId="{C37E6FE4-15B9-445D-9A12-9B3805BC54CA}" dt="2021-05-26T05:09:53.655" v="459" actId="478"/>
          <ac:spMkLst>
            <pc:docMk/>
            <pc:sldMk cId="1757238669" sldId="2194"/>
            <ac:spMk id="19" creationId="{D3085E64-A49E-4AA5-9FB7-6BD6CC0BCC57}"/>
          </ac:spMkLst>
        </pc:spChg>
        <pc:spChg chg="add del mod">
          <ac:chgData name="Aurelien Domont" userId="6da7715ce44349b3" providerId="LiveId" clId="{C37E6FE4-15B9-445D-9A12-9B3805BC54CA}" dt="2021-05-26T05:17:00.068" v="520" actId="478"/>
          <ac:spMkLst>
            <pc:docMk/>
            <pc:sldMk cId="1757238669" sldId="2194"/>
            <ac:spMk id="20" creationId="{EF113980-B8CF-4E32-9D22-B0880D9DFF88}"/>
          </ac:spMkLst>
        </pc:spChg>
        <pc:spChg chg="add del mod">
          <ac:chgData name="Aurelien Domont" userId="6da7715ce44349b3" providerId="LiveId" clId="{C37E6FE4-15B9-445D-9A12-9B3805BC54CA}" dt="2021-05-26T05:17:00.068" v="520" actId="478"/>
          <ac:spMkLst>
            <pc:docMk/>
            <pc:sldMk cId="1757238669" sldId="2194"/>
            <ac:spMk id="21" creationId="{E602CDB0-5D48-4F4F-A739-4D8FF3EBF13D}"/>
          </ac:spMkLst>
        </pc:spChg>
        <pc:spChg chg="add del mod">
          <ac:chgData name="Aurelien Domont" userId="6da7715ce44349b3" providerId="LiveId" clId="{C37E6FE4-15B9-445D-9A12-9B3805BC54CA}" dt="2021-05-26T05:17:00.068" v="520" actId="478"/>
          <ac:spMkLst>
            <pc:docMk/>
            <pc:sldMk cId="1757238669" sldId="2194"/>
            <ac:spMk id="22" creationId="{8D1EA982-7A00-4328-965D-E0731148399D}"/>
          </ac:spMkLst>
        </pc:spChg>
        <pc:spChg chg="add mod">
          <ac:chgData name="Aurelien Domont" userId="6da7715ce44349b3" providerId="LiveId" clId="{C37E6FE4-15B9-445D-9A12-9B3805BC54CA}" dt="2021-05-26T05:17:18.514" v="559" actId="20577"/>
          <ac:spMkLst>
            <pc:docMk/>
            <pc:sldMk cId="1757238669" sldId="2194"/>
            <ac:spMk id="23" creationId="{EF6390E9-CA21-4E4A-BD96-E347637E7E55}"/>
          </ac:spMkLst>
        </pc:spChg>
        <pc:spChg chg="add mod">
          <ac:chgData name="Aurelien Domont" userId="6da7715ce44349b3" providerId="LiveId" clId="{C37E6FE4-15B9-445D-9A12-9B3805BC54CA}" dt="2021-05-26T05:17:21.399" v="560"/>
          <ac:spMkLst>
            <pc:docMk/>
            <pc:sldMk cId="1757238669" sldId="2194"/>
            <ac:spMk id="24" creationId="{21B26A3D-3302-4765-AD44-544B4188490A}"/>
          </ac:spMkLst>
        </pc:spChg>
        <pc:spChg chg="add mod">
          <ac:chgData name="Aurelien Domont" userId="6da7715ce44349b3" providerId="LiveId" clId="{C37E6FE4-15B9-445D-9A12-9B3805BC54CA}" dt="2021-05-26T05:17:22.898" v="561"/>
          <ac:spMkLst>
            <pc:docMk/>
            <pc:sldMk cId="1757238669" sldId="2194"/>
            <ac:spMk id="25" creationId="{D5A12176-6615-4F4E-AB4D-AD3F7AFD0959}"/>
          </ac:spMkLst>
        </pc:spChg>
        <pc:spChg chg="add mod">
          <ac:chgData name="Aurelien Domont" userId="6da7715ce44349b3" providerId="LiveId" clId="{C37E6FE4-15B9-445D-9A12-9B3805BC54CA}" dt="2021-05-26T05:16:38.067" v="516"/>
          <ac:spMkLst>
            <pc:docMk/>
            <pc:sldMk cId="1757238669" sldId="2194"/>
            <ac:spMk id="26" creationId="{60E44E0D-04BE-4E5D-BFF7-FABC4D160859}"/>
          </ac:spMkLst>
        </pc:spChg>
        <pc:spChg chg="add mod">
          <ac:chgData name="Aurelien Domont" userId="6da7715ce44349b3" providerId="LiveId" clId="{C37E6FE4-15B9-445D-9A12-9B3805BC54CA}" dt="2021-05-26T05:16:38.067" v="516"/>
          <ac:spMkLst>
            <pc:docMk/>
            <pc:sldMk cId="1757238669" sldId="2194"/>
            <ac:spMk id="27" creationId="{C6BD5554-EA63-44F4-AF38-EDE032FFAE9D}"/>
          </ac:spMkLst>
        </pc:spChg>
        <pc:spChg chg="add mod">
          <ac:chgData name="Aurelien Domont" userId="6da7715ce44349b3" providerId="LiveId" clId="{C37E6FE4-15B9-445D-9A12-9B3805BC54CA}" dt="2021-05-26T05:16:38.067" v="516"/>
          <ac:spMkLst>
            <pc:docMk/>
            <pc:sldMk cId="1757238669" sldId="2194"/>
            <ac:spMk id="28" creationId="{A14BF12D-0188-4DDA-ADA2-4FFF4B357F55}"/>
          </ac:spMkLst>
        </pc:spChg>
        <pc:spChg chg="del">
          <ac:chgData name="Aurelien Domont" userId="6da7715ce44349b3" providerId="LiveId" clId="{C37E6FE4-15B9-445D-9A12-9B3805BC54CA}" dt="2021-05-26T05:09:53.655" v="459" actId="478"/>
          <ac:spMkLst>
            <pc:docMk/>
            <pc:sldMk cId="1757238669" sldId="2194"/>
            <ac:spMk id="39" creationId="{0E0B70C6-5AF7-455A-A384-416383514AD8}"/>
          </ac:spMkLst>
        </pc:spChg>
        <pc:spChg chg="del">
          <ac:chgData name="Aurelien Domont" userId="6da7715ce44349b3" providerId="LiveId" clId="{C37E6FE4-15B9-445D-9A12-9B3805BC54CA}" dt="2021-05-26T05:09:53.655" v="459" actId="478"/>
          <ac:spMkLst>
            <pc:docMk/>
            <pc:sldMk cId="1757238669" sldId="2194"/>
            <ac:spMk id="41" creationId="{096C5C5F-D174-4BC9-82B9-0BC01998CD1A}"/>
          </ac:spMkLst>
        </pc:spChg>
        <pc:spChg chg="del">
          <ac:chgData name="Aurelien Domont" userId="6da7715ce44349b3" providerId="LiveId" clId="{C37E6FE4-15B9-445D-9A12-9B3805BC54CA}" dt="2021-05-26T05:09:53.655" v="459" actId="478"/>
          <ac:spMkLst>
            <pc:docMk/>
            <pc:sldMk cId="1757238669" sldId="2194"/>
            <ac:spMk id="46" creationId="{EB357721-E879-406E-B6C9-A00B77C40A14}"/>
          </ac:spMkLst>
        </pc:spChg>
        <pc:picChg chg="del">
          <ac:chgData name="Aurelien Domont" userId="6da7715ce44349b3" providerId="LiveId" clId="{C37E6FE4-15B9-445D-9A12-9B3805BC54CA}" dt="2021-05-26T05:09:53.655" v="459" actId="478"/>
          <ac:picMkLst>
            <pc:docMk/>
            <pc:sldMk cId="1757238669" sldId="2194"/>
            <ac:picMk id="4" creationId="{9E3215DB-FE8C-4F07-9CBD-3D44D722D0D3}"/>
          </ac:picMkLst>
        </pc:picChg>
        <pc:picChg chg="del">
          <ac:chgData name="Aurelien Domont" userId="6da7715ce44349b3" providerId="LiveId" clId="{C37E6FE4-15B9-445D-9A12-9B3805BC54CA}" dt="2021-05-26T05:09:53.655" v="459" actId="478"/>
          <ac:picMkLst>
            <pc:docMk/>
            <pc:sldMk cId="1757238669" sldId="2194"/>
            <ac:picMk id="6" creationId="{137244FF-4023-459B-BD6D-822DA0130AB3}"/>
          </ac:picMkLst>
        </pc:picChg>
        <pc:picChg chg="del">
          <ac:chgData name="Aurelien Domont" userId="6da7715ce44349b3" providerId="LiveId" clId="{C37E6FE4-15B9-445D-9A12-9B3805BC54CA}" dt="2021-05-26T05:09:53.655" v="459" actId="478"/>
          <ac:picMkLst>
            <pc:docMk/>
            <pc:sldMk cId="1757238669" sldId="2194"/>
            <ac:picMk id="8" creationId="{1A1AE8A9-F556-434F-80D3-136B724E8D9C}"/>
          </ac:picMkLst>
        </pc:picChg>
        <pc:picChg chg="del">
          <ac:chgData name="Aurelien Domont" userId="6da7715ce44349b3" providerId="LiveId" clId="{C37E6FE4-15B9-445D-9A12-9B3805BC54CA}" dt="2021-05-26T05:09:53.655" v="459" actId="478"/>
          <ac:picMkLst>
            <pc:docMk/>
            <pc:sldMk cId="1757238669" sldId="2194"/>
            <ac:picMk id="15" creationId="{C7EF3C36-0F1D-4A9A-9539-0653C9A6EB35}"/>
          </ac:picMkLst>
        </pc:picChg>
      </pc:sldChg>
      <pc:sldChg chg="addSp delSp modSp add mod">
        <pc:chgData name="Aurelien Domont" userId="6da7715ce44349b3" providerId="LiveId" clId="{C37E6FE4-15B9-445D-9A12-9B3805BC54CA}" dt="2021-05-26T05:41:06.912" v="1213" actId="478"/>
        <pc:sldMkLst>
          <pc:docMk/>
          <pc:sldMk cId="1177967045" sldId="2195"/>
        </pc:sldMkLst>
        <pc:spChg chg="mod">
          <ac:chgData name="Aurelien Domont" userId="6da7715ce44349b3" providerId="LiveId" clId="{C37E6FE4-15B9-445D-9A12-9B3805BC54CA}" dt="2021-05-26T05:10:54.774" v="504" actId="20577"/>
          <ac:spMkLst>
            <pc:docMk/>
            <pc:sldMk cId="1177967045" sldId="2195"/>
            <ac:spMk id="16" creationId="{6C2BB713-9637-4B9B-938F-E9768876782A}"/>
          </ac:spMkLst>
        </pc:spChg>
        <pc:spChg chg="add del mod">
          <ac:chgData name="Aurelien Domont" userId="6da7715ce44349b3" providerId="LiveId" clId="{C37E6FE4-15B9-445D-9A12-9B3805BC54CA}" dt="2021-05-26T05:41:06.912" v="1213" actId="478"/>
          <ac:spMkLst>
            <pc:docMk/>
            <pc:sldMk cId="1177967045" sldId="2195"/>
            <ac:spMk id="32" creationId="{2985E824-28DA-4C72-AD81-03DE83F3B9AF}"/>
          </ac:spMkLst>
        </pc:spChg>
      </pc:sldChg>
      <pc:sldChg chg="addSp delSp modSp add mod">
        <pc:chgData name="Aurelien Domont" userId="6da7715ce44349b3" providerId="LiveId" clId="{C37E6FE4-15B9-445D-9A12-9B3805BC54CA}" dt="2021-05-26T05:26:03.158" v="565" actId="478"/>
        <pc:sldMkLst>
          <pc:docMk/>
          <pc:sldMk cId="793542605" sldId="2196"/>
        </pc:sldMkLst>
        <pc:spChg chg="add del mod">
          <ac:chgData name="Aurelien Domont" userId="6da7715ce44349b3" providerId="LiveId" clId="{C37E6FE4-15B9-445D-9A12-9B3805BC54CA}" dt="2021-05-26T05:26:03.158" v="565" actId="478"/>
          <ac:spMkLst>
            <pc:docMk/>
            <pc:sldMk cId="793542605" sldId="2196"/>
            <ac:spMk id="11" creationId="{7B8F4865-B849-43D8-99C8-367DB26F1DF5}"/>
          </ac:spMkLst>
        </pc:spChg>
      </pc:sldChg>
      <pc:sldChg chg="modSp add mod">
        <pc:chgData name="Aurelien Domont" userId="6da7715ce44349b3" providerId="LiveId" clId="{C37E6FE4-15B9-445D-9A12-9B3805BC54CA}" dt="2021-05-26T05:26:30.643" v="619" actId="20577"/>
        <pc:sldMkLst>
          <pc:docMk/>
          <pc:sldMk cId="1206354650" sldId="2197"/>
        </pc:sldMkLst>
        <pc:spChg chg="mod">
          <ac:chgData name="Aurelien Domont" userId="6da7715ce44349b3" providerId="LiveId" clId="{C37E6FE4-15B9-445D-9A12-9B3805BC54CA}" dt="2021-05-26T05:26:07.631" v="567" actId="14100"/>
          <ac:spMkLst>
            <pc:docMk/>
            <pc:sldMk cId="1206354650" sldId="2197"/>
            <ac:spMk id="11" creationId="{7B8F4865-B849-43D8-99C8-367DB26F1DF5}"/>
          </ac:spMkLst>
        </pc:spChg>
        <pc:spChg chg="mod">
          <ac:chgData name="Aurelien Domont" userId="6da7715ce44349b3" providerId="LiveId" clId="{C37E6FE4-15B9-445D-9A12-9B3805BC54CA}" dt="2021-05-26T05:26:12.662" v="581" actId="20577"/>
          <ac:spMkLst>
            <pc:docMk/>
            <pc:sldMk cId="1206354650" sldId="2197"/>
            <ac:spMk id="23" creationId="{EF6390E9-CA21-4E4A-BD96-E347637E7E55}"/>
          </ac:spMkLst>
        </pc:spChg>
        <pc:spChg chg="mod">
          <ac:chgData name="Aurelien Domont" userId="6da7715ce44349b3" providerId="LiveId" clId="{C37E6FE4-15B9-445D-9A12-9B3805BC54CA}" dt="2021-05-26T05:26:23.544" v="597" actId="20577"/>
          <ac:spMkLst>
            <pc:docMk/>
            <pc:sldMk cId="1206354650" sldId="2197"/>
            <ac:spMk id="24" creationId="{21B26A3D-3302-4765-AD44-544B4188490A}"/>
          </ac:spMkLst>
        </pc:spChg>
        <pc:spChg chg="mod">
          <ac:chgData name="Aurelien Domont" userId="6da7715ce44349b3" providerId="LiveId" clId="{C37E6FE4-15B9-445D-9A12-9B3805BC54CA}" dt="2021-05-26T05:26:30.643" v="619" actId="20577"/>
          <ac:spMkLst>
            <pc:docMk/>
            <pc:sldMk cId="1206354650" sldId="2197"/>
            <ac:spMk id="25" creationId="{D5A12176-6615-4F4E-AB4D-AD3F7AFD0959}"/>
          </ac:spMkLst>
        </pc:spChg>
      </pc:sldChg>
      <pc:sldChg chg="addSp modSp add mod">
        <pc:chgData name="Aurelien Domont" userId="6da7715ce44349b3" providerId="LiveId" clId="{C37E6FE4-15B9-445D-9A12-9B3805BC54CA}" dt="2021-05-26T05:30:13.945" v="843" actId="1076"/>
        <pc:sldMkLst>
          <pc:docMk/>
          <pc:sldMk cId="2990142530" sldId="2198"/>
        </pc:sldMkLst>
        <pc:spChg chg="mod">
          <ac:chgData name="Aurelien Domont" userId="6da7715ce44349b3" providerId="LiveId" clId="{C37E6FE4-15B9-445D-9A12-9B3805BC54CA}" dt="2021-05-26T05:28:25.373" v="716" actId="20577"/>
          <ac:spMkLst>
            <pc:docMk/>
            <pc:sldMk cId="2990142530" sldId="2198"/>
            <ac:spMk id="17" creationId="{04528831-2C34-48CB-B79E-30696FB22302}"/>
          </ac:spMkLst>
        </pc:spChg>
        <pc:spChg chg="mod">
          <ac:chgData name="Aurelien Domont" userId="6da7715ce44349b3" providerId="LiveId" clId="{C37E6FE4-15B9-445D-9A12-9B3805BC54CA}" dt="2021-05-26T05:30:09.947" v="842" actId="20577"/>
          <ac:spMkLst>
            <pc:docMk/>
            <pc:sldMk cId="2990142530" sldId="2198"/>
            <ac:spMk id="20" creationId="{D6436089-34A2-4772-B070-2765BB60AFD0}"/>
          </ac:spMkLst>
        </pc:spChg>
        <pc:spChg chg="mod">
          <ac:chgData name="Aurelien Domont" userId="6da7715ce44349b3" providerId="LiveId" clId="{C37E6FE4-15B9-445D-9A12-9B3805BC54CA}" dt="2021-05-26T05:27:50.491" v="635" actId="20577"/>
          <ac:spMkLst>
            <pc:docMk/>
            <pc:sldMk cId="2990142530" sldId="2198"/>
            <ac:spMk id="27" creationId="{3C7BF620-7666-4029-874D-B6D841967A7E}"/>
          </ac:spMkLst>
        </pc:spChg>
        <pc:spChg chg="mod">
          <ac:chgData name="Aurelien Domont" userId="6da7715ce44349b3" providerId="LiveId" clId="{C37E6FE4-15B9-445D-9A12-9B3805BC54CA}" dt="2021-05-26T05:29:08.863" v="783" actId="20577"/>
          <ac:spMkLst>
            <pc:docMk/>
            <pc:sldMk cId="2990142530" sldId="2198"/>
            <ac:spMk id="28" creationId="{48E2BB3E-102E-456D-99C5-79D56D89D77B}"/>
          </ac:spMkLst>
        </pc:spChg>
        <pc:spChg chg="add mod">
          <ac:chgData name="Aurelien Domont" userId="6da7715ce44349b3" providerId="LiveId" clId="{C37E6FE4-15B9-445D-9A12-9B3805BC54CA}" dt="2021-05-26T05:30:13.945" v="843" actId="1076"/>
          <ac:spMkLst>
            <pc:docMk/>
            <pc:sldMk cId="2990142530" sldId="2198"/>
            <ac:spMk id="32" creationId="{51603748-1B41-41AE-910D-89255B5F91EC}"/>
          </ac:spMkLst>
        </pc:spChg>
      </pc:sldChg>
      <pc:sldChg chg="modSp add mod">
        <pc:chgData name="Aurelien Domont" userId="6da7715ce44349b3" providerId="LiveId" clId="{C37E6FE4-15B9-445D-9A12-9B3805BC54CA}" dt="2021-05-26T05:30:39.043" v="861" actId="20577"/>
        <pc:sldMkLst>
          <pc:docMk/>
          <pc:sldMk cId="3820082592" sldId="2199"/>
        </pc:sldMkLst>
        <pc:spChg chg="mod">
          <ac:chgData name="Aurelien Domont" userId="6da7715ce44349b3" providerId="LiveId" clId="{C37E6FE4-15B9-445D-9A12-9B3805BC54CA}" dt="2021-05-26T05:30:30.125" v="859" actId="1036"/>
          <ac:spMkLst>
            <pc:docMk/>
            <pc:sldMk cId="3820082592" sldId="2199"/>
            <ac:spMk id="15" creationId="{7F7B73D2-A592-459F-AABD-FF843772DAB3}"/>
          </ac:spMkLst>
        </pc:spChg>
        <pc:spChg chg="mod">
          <ac:chgData name="Aurelien Domont" userId="6da7715ce44349b3" providerId="LiveId" clId="{C37E6FE4-15B9-445D-9A12-9B3805BC54CA}" dt="2021-05-26T05:30:39.043" v="861" actId="20577"/>
          <ac:spMkLst>
            <pc:docMk/>
            <pc:sldMk cId="3820082592" sldId="2199"/>
            <ac:spMk id="16" creationId="{6C2BB713-9637-4B9B-938F-E9768876782A}"/>
          </ac:spMkLst>
        </pc:spChg>
      </pc:sldChg>
      <pc:sldChg chg="addSp delSp modSp add mod">
        <pc:chgData name="Aurelien Domont" userId="6da7715ce44349b3" providerId="LiveId" clId="{C37E6FE4-15B9-445D-9A12-9B3805BC54CA}" dt="2021-05-26T06:03:51.886" v="1887"/>
        <pc:sldMkLst>
          <pc:docMk/>
          <pc:sldMk cId="513527490" sldId="2200"/>
        </pc:sldMkLst>
        <pc:spChg chg="add mod">
          <ac:chgData name="Aurelien Domont" userId="6da7715ce44349b3" providerId="LiveId" clId="{C37E6FE4-15B9-445D-9A12-9B3805BC54CA}" dt="2021-05-26T06:03:51.886" v="1887"/>
          <ac:spMkLst>
            <pc:docMk/>
            <pc:sldMk cId="513527490" sldId="2200"/>
            <ac:spMk id="11" creationId="{B4AD5336-F5AE-4CDC-AC56-A011B8FAD577}"/>
          </ac:spMkLst>
        </pc:spChg>
        <pc:spChg chg="mod">
          <ac:chgData name="Aurelien Domont" userId="6da7715ce44349b3" providerId="LiveId" clId="{C37E6FE4-15B9-445D-9A12-9B3805BC54CA}" dt="2021-05-26T05:33:08.926" v="900" actId="20577"/>
          <ac:spMkLst>
            <pc:docMk/>
            <pc:sldMk cId="513527490" sldId="2200"/>
            <ac:spMk id="16" creationId="{6C2BB713-9637-4B9B-938F-E9768876782A}"/>
          </ac:spMkLst>
        </pc:spChg>
        <pc:spChg chg="mod">
          <ac:chgData name="Aurelien Domont" userId="6da7715ce44349b3" providerId="LiveId" clId="{C37E6FE4-15B9-445D-9A12-9B3805BC54CA}" dt="2021-05-26T05:33:06.338" v="898" actId="1076"/>
          <ac:spMkLst>
            <pc:docMk/>
            <pc:sldMk cId="513527490" sldId="2200"/>
            <ac:spMk id="19" creationId="{D3085E64-A49E-4AA5-9FB7-6BD6CC0BCC57}"/>
          </ac:spMkLst>
        </pc:spChg>
        <pc:spChg chg="mod">
          <ac:chgData name="Aurelien Domont" userId="6da7715ce44349b3" providerId="LiveId" clId="{C37E6FE4-15B9-445D-9A12-9B3805BC54CA}" dt="2021-05-26T05:33:47.501" v="901" actId="20577"/>
          <ac:spMkLst>
            <pc:docMk/>
            <pc:sldMk cId="513527490" sldId="2200"/>
            <ac:spMk id="39" creationId="{0E0B70C6-5AF7-455A-A384-416383514AD8}"/>
          </ac:spMkLst>
        </pc:spChg>
        <pc:spChg chg="mod">
          <ac:chgData name="Aurelien Domont" userId="6da7715ce44349b3" providerId="LiveId" clId="{C37E6FE4-15B9-445D-9A12-9B3805BC54CA}" dt="2021-05-26T05:33:48.829" v="902" actId="20577"/>
          <ac:spMkLst>
            <pc:docMk/>
            <pc:sldMk cId="513527490" sldId="2200"/>
            <ac:spMk id="41" creationId="{096C5C5F-D174-4BC9-82B9-0BC01998CD1A}"/>
          </ac:spMkLst>
        </pc:spChg>
        <pc:spChg chg="del">
          <ac:chgData name="Aurelien Domont" userId="6da7715ce44349b3" providerId="LiveId" clId="{C37E6FE4-15B9-445D-9A12-9B3805BC54CA}" dt="2021-05-26T05:33:03.377" v="897" actId="478"/>
          <ac:spMkLst>
            <pc:docMk/>
            <pc:sldMk cId="513527490" sldId="2200"/>
            <ac:spMk id="46" creationId="{EB357721-E879-406E-B6C9-A00B77C40A14}"/>
          </ac:spMkLst>
        </pc:spChg>
        <pc:picChg chg="mod">
          <ac:chgData name="Aurelien Domont" userId="6da7715ce44349b3" providerId="LiveId" clId="{C37E6FE4-15B9-445D-9A12-9B3805BC54CA}" dt="2021-05-26T05:33:06.338" v="898" actId="1076"/>
          <ac:picMkLst>
            <pc:docMk/>
            <pc:sldMk cId="513527490" sldId="2200"/>
            <ac:picMk id="4" creationId="{9E3215DB-FE8C-4F07-9CBD-3D44D722D0D3}"/>
          </ac:picMkLst>
        </pc:picChg>
        <pc:picChg chg="mod">
          <ac:chgData name="Aurelien Domont" userId="6da7715ce44349b3" providerId="LiveId" clId="{C37E6FE4-15B9-445D-9A12-9B3805BC54CA}" dt="2021-05-26T05:33:06.338" v="898" actId="1076"/>
          <ac:picMkLst>
            <pc:docMk/>
            <pc:sldMk cId="513527490" sldId="2200"/>
            <ac:picMk id="6" creationId="{137244FF-4023-459B-BD6D-822DA0130AB3}"/>
          </ac:picMkLst>
        </pc:picChg>
        <pc:picChg chg="del">
          <ac:chgData name="Aurelien Domont" userId="6da7715ce44349b3" providerId="LiveId" clId="{C37E6FE4-15B9-445D-9A12-9B3805BC54CA}" dt="2021-05-26T05:33:03.377" v="897" actId="478"/>
          <ac:picMkLst>
            <pc:docMk/>
            <pc:sldMk cId="513527490" sldId="2200"/>
            <ac:picMk id="8" creationId="{1A1AE8A9-F556-434F-80D3-136B724E8D9C}"/>
          </ac:picMkLst>
        </pc:picChg>
        <pc:picChg chg="mod">
          <ac:chgData name="Aurelien Domont" userId="6da7715ce44349b3" providerId="LiveId" clId="{C37E6FE4-15B9-445D-9A12-9B3805BC54CA}" dt="2021-05-26T05:33:06.338" v="898" actId="1076"/>
          <ac:picMkLst>
            <pc:docMk/>
            <pc:sldMk cId="513527490" sldId="2200"/>
            <ac:picMk id="15" creationId="{C7EF3C36-0F1D-4A9A-9539-0653C9A6EB35}"/>
          </ac:picMkLst>
        </pc:picChg>
      </pc:sldChg>
      <pc:sldChg chg="add">
        <pc:chgData name="Aurelien Domont" userId="6da7715ce44349b3" providerId="LiveId" clId="{C37E6FE4-15B9-445D-9A12-9B3805BC54CA}" dt="2021-05-26T05:32:27.568" v="887"/>
        <pc:sldMkLst>
          <pc:docMk/>
          <pc:sldMk cId="2661957683" sldId="2201"/>
        </pc:sldMkLst>
      </pc:sldChg>
      <pc:sldChg chg="add del">
        <pc:chgData name="Aurelien Domont" userId="6da7715ce44349b3" providerId="LiveId" clId="{C37E6FE4-15B9-445D-9A12-9B3805BC54CA}" dt="2021-05-26T05:32:18.477" v="886" actId="2696"/>
        <pc:sldMkLst>
          <pc:docMk/>
          <pc:sldMk cId="2794102102" sldId="2201"/>
        </pc:sldMkLst>
      </pc:sldChg>
      <pc:sldChg chg="add">
        <pc:chgData name="Aurelien Domont" userId="6da7715ce44349b3" providerId="LiveId" clId="{C37E6FE4-15B9-445D-9A12-9B3805BC54CA}" dt="2021-05-26T05:32:27.568" v="887"/>
        <pc:sldMkLst>
          <pc:docMk/>
          <pc:sldMk cId="567542991" sldId="2202"/>
        </pc:sldMkLst>
      </pc:sldChg>
      <pc:sldChg chg="add del">
        <pc:chgData name="Aurelien Domont" userId="6da7715ce44349b3" providerId="LiveId" clId="{C37E6FE4-15B9-445D-9A12-9B3805BC54CA}" dt="2021-05-26T05:32:18.477" v="886" actId="2696"/>
        <pc:sldMkLst>
          <pc:docMk/>
          <pc:sldMk cId="3923664058" sldId="2202"/>
        </pc:sldMkLst>
      </pc:sldChg>
      <pc:sldChg chg="modSp add mod">
        <pc:chgData name="Aurelien Domont" userId="6da7715ce44349b3" providerId="LiveId" clId="{C37E6FE4-15B9-445D-9A12-9B3805BC54CA}" dt="2021-05-26T05:34:23.726" v="914" actId="20577"/>
        <pc:sldMkLst>
          <pc:docMk/>
          <pc:sldMk cId="26917896" sldId="2203"/>
        </pc:sldMkLst>
        <pc:spChg chg="mod">
          <ac:chgData name="Aurelien Domont" userId="6da7715ce44349b3" providerId="LiveId" clId="{C37E6FE4-15B9-445D-9A12-9B3805BC54CA}" dt="2021-05-26T05:34:23.726" v="914" actId="20577"/>
          <ac:spMkLst>
            <pc:docMk/>
            <pc:sldMk cId="26917896" sldId="2203"/>
            <ac:spMk id="16" creationId="{6C2BB713-9637-4B9B-938F-E9768876782A}"/>
          </ac:spMkLst>
        </pc:spChg>
      </pc:sldChg>
      <pc:sldChg chg="addSp modSp add mod">
        <pc:chgData name="Aurelien Domont" userId="6da7715ce44349b3" providerId="LiveId" clId="{C37E6FE4-15B9-445D-9A12-9B3805BC54CA}" dt="2021-05-26T05:37:43.911" v="1171" actId="20577"/>
        <pc:sldMkLst>
          <pc:docMk/>
          <pc:sldMk cId="3260603161" sldId="2204"/>
        </pc:sldMkLst>
        <pc:spChg chg="mod">
          <ac:chgData name="Aurelien Domont" userId="6da7715ce44349b3" providerId="LiveId" clId="{C37E6FE4-15B9-445D-9A12-9B3805BC54CA}" dt="2021-05-26T05:37:43.911" v="1171" actId="20577"/>
          <ac:spMkLst>
            <pc:docMk/>
            <pc:sldMk cId="3260603161" sldId="2204"/>
            <ac:spMk id="17" creationId="{04528831-2C34-48CB-B79E-30696FB22302}"/>
          </ac:spMkLst>
        </pc:spChg>
        <pc:spChg chg="mod">
          <ac:chgData name="Aurelien Domont" userId="6da7715ce44349b3" providerId="LiveId" clId="{C37E6FE4-15B9-445D-9A12-9B3805BC54CA}" dt="2021-05-26T05:36:17.393" v="990" actId="20577"/>
          <ac:spMkLst>
            <pc:docMk/>
            <pc:sldMk cId="3260603161" sldId="2204"/>
            <ac:spMk id="27" creationId="{3C7BF620-7666-4029-874D-B6D841967A7E}"/>
          </ac:spMkLst>
        </pc:spChg>
        <pc:spChg chg="add mod">
          <ac:chgData name="Aurelien Domont" userId="6da7715ce44349b3" providerId="LiveId" clId="{C37E6FE4-15B9-445D-9A12-9B3805BC54CA}" dt="2021-05-26T05:35:33.826" v="917" actId="1076"/>
          <ac:spMkLst>
            <pc:docMk/>
            <pc:sldMk cId="3260603161" sldId="2204"/>
            <ac:spMk id="32" creationId="{A0CC9A0C-D866-4E23-8A91-7EBE416F27B1}"/>
          </ac:spMkLst>
        </pc:spChg>
      </pc:sldChg>
      <pc:sldChg chg="modSp add mod">
        <pc:chgData name="Aurelien Domont" userId="6da7715ce44349b3" providerId="LiveId" clId="{C37E6FE4-15B9-445D-9A12-9B3805BC54CA}" dt="2021-05-26T05:38:25.153" v="1199" actId="20577"/>
        <pc:sldMkLst>
          <pc:docMk/>
          <pc:sldMk cId="2836562888" sldId="2205"/>
        </pc:sldMkLst>
        <pc:spChg chg="mod">
          <ac:chgData name="Aurelien Domont" userId="6da7715ce44349b3" providerId="LiveId" clId="{C37E6FE4-15B9-445D-9A12-9B3805BC54CA}" dt="2021-05-26T05:38:17.186" v="1193" actId="1035"/>
          <ac:spMkLst>
            <pc:docMk/>
            <pc:sldMk cId="2836562888" sldId="2205"/>
            <ac:spMk id="15" creationId="{7F7B73D2-A592-459F-AABD-FF843772DAB3}"/>
          </ac:spMkLst>
        </pc:spChg>
        <pc:spChg chg="mod">
          <ac:chgData name="Aurelien Domont" userId="6da7715ce44349b3" providerId="LiveId" clId="{C37E6FE4-15B9-445D-9A12-9B3805BC54CA}" dt="2021-05-26T05:38:25.153" v="1199" actId="20577"/>
          <ac:spMkLst>
            <pc:docMk/>
            <pc:sldMk cId="2836562888" sldId="2205"/>
            <ac:spMk id="16" creationId="{6C2BB713-9637-4B9B-938F-E9768876782A}"/>
          </ac:spMkLst>
        </pc:spChg>
      </pc:sldChg>
      <pc:sldChg chg="add">
        <pc:chgData name="Aurelien Domont" userId="6da7715ce44349b3" providerId="LiveId" clId="{C37E6FE4-15B9-445D-9A12-9B3805BC54CA}" dt="2021-05-26T05:40:43.621" v="1209"/>
        <pc:sldMkLst>
          <pc:docMk/>
          <pc:sldMk cId="3280891638" sldId="2206"/>
        </pc:sldMkLst>
      </pc:sldChg>
      <pc:sldChg chg="modSp add mod">
        <pc:chgData name="Aurelien Domont" userId="6da7715ce44349b3" providerId="LiveId" clId="{C37E6FE4-15B9-445D-9A12-9B3805BC54CA}" dt="2021-05-26T05:43:21.897" v="1405" actId="20577"/>
        <pc:sldMkLst>
          <pc:docMk/>
          <pc:sldMk cId="216224630" sldId="2207"/>
        </pc:sldMkLst>
        <pc:spChg chg="mod">
          <ac:chgData name="Aurelien Domont" userId="6da7715ce44349b3" providerId="LiveId" clId="{C37E6FE4-15B9-445D-9A12-9B3805BC54CA}" dt="2021-05-26T05:43:21.897" v="1405" actId="20577"/>
          <ac:spMkLst>
            <pc:docMk/>
            <pc:sldMk cId="216224630" sldId="2207"/>
            <ac:spMk id="17" creationId="{04528831-2C34-48CB-B79E-30696FB22302}"/>
          </ac:spMkLst>
        </pc:spChg>
        <pc:spChg chg="mod">
          <ac:chgData name="Aurelien Domont" userId="6da7715ce44349b3" providerId="LiveId" clId="{C37E6FE4-15B9-445D-9A12-9B3805BC54CA}" dt="2021-05-26T05:41:37.766" v="1244" actId="20577"/>
          <ac:spMkLst>
            <pc:docMk/>
            <pc:sldMk cId="216224630" sldId="2207"/>
            <ac:spMk id="27" creationId="{3C7BF620-7666-4029-874D-B6D841967A7E}"/>
          </ac:spMkLst>
        </pc:spChg>
        <pc:spChg chg="mod">
          <ac:chgData name="Aurelien Domont" userId="6da7715ce44349b3" providerId="LiveId" clId="{C37E6FE4-15B9-445D-9A12-9B3805BC54CA}" dt="2021-05-26T05:42:54.127" v="1368" actId="1076"/>
          <ac:spMkLst>
            <pc:docMk/>
            <pc:sldMk cId="216224630" sldId="2207"/>
            <ac:spMk id="32" creationId="{2985E824-28DA-4C72-AD81-03DE83F3B9AF}"/>
          </ac:spMkLst>
        </pc:spChg>
      </pc:sldChg>
      <pc:sldChg chg="modSp add mod">
        <pc:chgData name="Aurelien Domont" userId="6da7715ce44349b3" providerId="LiveId" clId="{C37E6FE4-15B9-445D-9A12-9B3805BC54CA}" dt="2021-05-26T05:49:00.961" v="1816" actId="20577"/>
        <pc:sldMkLst>
          <pc:docMk/>
          <pc:sldMk cId="3667406482" sldId="2208"/>
        </pc:sldMkLst>
        <pc:spChg chg="mod">
          <ac:chgData name="Aurelien Domont" userId="6da7715ce44349b3" providerId="LiveId" clId="{C37E6FE4-15B9-445D-9A12-9B3805BC54CA}" dt="2021-05-26T05:45:15.922" v="1495" actId="20577"/>
          <ac:spMkLst>
            <pc:docMk/>
            <pc:sldMk cId="3667406482" sldId="2208"/>
            <ac:spMk id="28" creationId="{B7AD5AAA-5B0A-454F-9E98-C6AB3FAFE03D}"/>
          </ac:spMkLst>
        </pc:spChg>
        <pc:spChg chg="mod">
          <ac:chgData name="Aurelien Domont" userId="6da7715ce44349b3" providerId="LiveId" clId="{C37E6FE4-15B9-445D-9A12-9B3805BC54CA}" dt="2021-05-26T05:46:10.239" v="1616" actId="20577"/>
          <ac:spMkLst>
            <pc:docMk/>
            <pc:sldMk cId="3667406482" sldId="2208"/>
            <ac:spMk id="29" creationId="{079FEA49-7CB4-4A76-A672-10780D1F23BD}"/>
          </ac:spMkLst>
        </pc:spChg>
        <pc:spChg chg="mod">
          <ac:chgData name="Aurelien Domont" userId="6da7715ce44349b3" providerId="LiveId" clId="{C37E6FE4-15B9-445D-9A12-9B3805BC54CA}" dt="2021-05-26T05:49:00.961" v="1816" actId="20577"/>
          <ac:spMkLst>
            <pc:docMk/>
            <pc:sldMk cId="3667406482" sldId="2208"/>
            <ac:spMk id="30" creationId="{B0F8F8BA-3E53-4948-961C-570F4E85705B}"/>
          </ac:spMkLst>
        </pc:spChg>
        <pc:spChg chg="mod">
          <ac:chgData name="Aurelien Domont" userId="6da7715ce44349b3" providerId="LiveId" clId="{C37E6FE4-15B9-445D-9A12-9B3805BC54CA}" dt="2021-05-26T05:47:12.884" v="1710" actId="20577"/>
          <ac:spMkLst>
            <pc:docMk/>
            <pc:sldMk cId="3667406482" sldId="2208"/>
            <ac:spMk id="31" creationId="{1648052F-E528-4599-BFF8-0F6DEC3611B8}"/>
          </ac:spMkLst>
        </pc:spChg>
      </pc:sldChg>
      <pc:sldChg chg="add">
        <pc:chgData name="Aurelien Domont" userId="6da7715ce44349b3" providerId="LiveId" clId="{C37E6FE4-15B9-445D-9A12-9B3805BC54CA}" dt="2021-05-26T05:51:41.467" v="1834"/>
        <pc:sldMkLst>
          <pc:docMk/>
          <pc:sldMk cId="2580746334" sldId="2209"/>
        </pc:sldMkLst>
      </pc:sldChg>
      <pc:sldChg chg="add">
        <pc:chgData name="Aurelien Domont" userId="6da7715ce44349b3" providerId="LiveId" clId="{C37E6FE4-15B9-445D-9A12-9B3805BC54CA}" dt="2021-05-26T05:58:29.563" v="1879"/>
        <pc:sldMkLst>
          <pc:docMk/>
          <pc:sldMk cId="2516775586" sldId="2210"/>
        </pc:sldMkLst>
      </pc:sldChg>
      <pc:sldChg chg="add">
        <pc:chgData name="Aurelien Domont" userId="6da7715ce44349b3" providerId="LiveId" clId="{C37E6FE4-15B9-445D-9A12-9B3805BC54CA}" dt="2021-05-26T06:00:14.565" v="1881"/>
        <pc:sldMkLst>
          <pc:docMk/>
          <pc:sldMk cId="708349765" sldId="2211"/>
        </pc:sldMkLst>
      </pc:sldChg>
    </pc:docChg>
  </pc:docChgLst>
  <pc:docChgLst>
    <pc:chgData name="Aurelien Domont" userId="6da7715ce44349b3" providerId="LiveId" clId="{3056F74B-79CF-4229-8BA2-4FA2B4329F51}"/>
    <pc:docChg chg="undo redo custSel addSld delSld modSld sldOrd">
      <pc:chgData name="Aurelien Domont" userId="6da7715ce44349b3" providerId="LiveId" clId="{3056F74B-79CF-4229-8BA2-4FA2B4329F51}" dt="2021-09-23T05:10:14.261" v="4110" actId="478"/>
      <pc:docMkLst>
        <pc:docMk/>
      </pc:docMkLst>
      <pc:sldChg chg="modSp mod">
        <pc:chgData name="Aurelien Domont" userId="6da7715ce44349b3" providerId="LiveId" clId="{3056F74B-79CF-4229-8BA2-4FA2B4329F51}" dt="2021-09-22T07:01:59.112" v="15" actId="20577"/>
        <pc:sldMkLst>
          <pc:docMk/>
          <pc:sldMk cId="3131901387" sldId="256"/>
        </pc:sldMkLst>
        <pc:spChg chg="mod">
          <ac:chgData name="Aurelien Domont" userId="6da7715ce44349b3" providerId="LiveId" clId="{3056F74B-79CF-4229-8BA2-4FA2B4329F51}" dt="2021-09-22T07:01:59.112" v="15" actId="20577"/>
          <ac:spMkLst>
            <pc:docMk/>
            <pc:sldMk cId="3131901387" sldId="256"/>
            <ac:spMk id="2" creationId="{5261080C-C60C-4746-B6B1-A9A4FFA86785}"/>
          </ac:spMkLst>
        </pc:spChg>
      </pc:sldChg>
      <pc:sldChg chg="del">
        <pc:chgData name="Aurelien Domont" userId="6da7715ce44349b3" providerId="LiveId" clId="{3056F74B-79CF-4229-8BA2-4FA2B4329F51}" dt="2021-09-23T04:32:14.008" v="3577" actId="47"/>
        <pc:sldMkLst>
          <pc:docMk/>
          <pc:sldMk cId="1447772011" sldId="1236"/>
        </pc:sldMkLst>
      </pc:sldChg>
      <pc:sldChg chg="addSp delSp modSp del mod ord">
        <pc:chgData name="Aurelien Domont" userId="6da7715ce44349b3" providerId="LiveId" clId="{3056F74B-79CF-4229-8BA2-4FA2B4329F51}" dt="2021-09-23T01:56:58.471" v="1291" actId="47"/>
        <pc:sldMkLst>
          <pc:docMk/>
          <pc:sldMk cId="112122695" sldId="1521"/>
        </pc:sldMkLst>
        <pc:spChg chg="del">
          <ac:chgData name="Aurelien Domont" userId="6da7715ce44349b3" providerId="LiveId" clId="{3056F74B-79CF-4229-8BA2-4FA2B4329F51}" dt="2021-09-22T07:10:20.240" v="42" actId="478"/>
          <ac:spMkLst>
            <pc:docMk/>
            <pc:sldMk cId="112122695" sldId="1521"/>
            <ac:spMk id="9" creationId="{82B3D055-7B95-41B2-9B4B-EDD5F3212EC0}"/>
          </ac:spMkLst>
        </pc:spChg>
        <pc:spChg chg="add del mod">
          <ac:chgData name="Aurelien Domont" userId="6da7715ce44349b3" providerId="LiveId" clId="{3056F74B-79CF-4229-8BA2-4FA2B4329F51}" dt="2021-09-22T07:56:24.727" v="239" actId="478"/>
          <ac:spMkLst>
            <pc:docMk/>
            <pc:sldMk cId="112122695" sldId="1521"/>
            <ac:spMk id="11" creationId="{13E6A2BE-DB0E-4839-8D3F-8D2D93544B34}"/>
          </ac:spMkLst>
        </pc:spChg>
        <pc:spChg chg="mod">
          <ac:chgData name="Aurelien Domont" userId="6da7715ce44349b3" providerId="LiveId" clId="{3056F74B-79CF-4229-8BA2-4FA2B4329F51}" dt="2021-09-23T01:54:05.424" v="1103" actId="20577"/>
          <ac:spMkLst>
            <pc:docMk/>
            <pc:sldMk cId="112122695" sldId="1521"/>
            <ac:spMk id="16" creationId="{6C2BB713-9637-4B9B-938F-E9768876782A}"/>
          </ac:spMkLst>
        </pc:spChg>
        <pc:spChg chg="del">
          <ac:chgData name="Aurelien Domont" userId="6da7715ce44349b3" providerId="LiveId" clId="{3056F74B-79CF-4229-8BA2-4FA2B4329F51}" dt="2021-09-22T07:10:20.240" v="42" actId="478"/>
          <ac:spMkLst>
            <pc:docMk/>
            <pc:sldMk cId="112122695" sldId="1521"/>
            <ac:spMk id="17" creationId="{D7CB83BD-BA5C-429A-B579-008A442C4480}"/>
          </ac:spMkLst>
        </pc:spChg>
        <pc:spChg chg="del">
          <ac:chgData name="Aurelien Domont" userId="6da7715ce44349b3" providerId="LiveId" clId="{3056F74B-79CF-4229-8BA2-4FA2B4329F51}" dt="2021-09-22T07:10:20.240" v="42" actId="478"/>
          <ac:spMkLst>
            <pc:docMk/>
            <pc:sldMk cId="112122695" sldId="1521"/>
            <ac:spMk id="18" creationId="{6690B5F9-90B9-4DDB-8F95-51D207BE3335}"/>
          </ac:spMkLst>
        </pc:spChg>
        <pc:spChg chg="del">
          <ac:chgData name="Aurelien Domont" userId="6da7715ce44349b3" providerId="LiveId" clId="{3056F74B-79CF-4229-8BA2-4FA2B4329F51}" dt="2021-09-22T07:10:20.240" v="42" actId="478"/>
          <ac:spMkLst>
            <pc:docMk/>
            <pc:sldMk cId="112122695" sldId="1521"/>
            <ac:spMk id="21" creationId="{8887032C-CE4E-4107-8157-6C8608EF9A32}"/>
          </ac:spMkLst>
        </pc:spChg>
        <pc:spChg chg="del">
          <ac:chgData name="Aurelien Domont" userId="6da7715ce44349b3" providerId="LiveId" clId="{3056F74B-79CF-4229-8BA2-4FA2B4329F51}" dt="2021-09-22T07:10:20.240" v="42" actId="478"/>
          <ac:spMkLst>
            <pc:docMk/>
            <pc:sldMk cId="112122695" sldId="1521"/>
            <ac:spMk id="22" creationId="{CC39D5EE-40EF-4CFB-9505-D1EFF3AF3535}"/>
          </ac:spMkLst>
        </pc:spChg>
        <pc:graphicFrameChg chg="add del mod">
          <ac:chgData name="Aurelien Domont" userId="6da7715ce44349b3" providerId="LiveId" clId="{3056F74B-79CF-4229-8BA2-4FA2B4329F51}" dt="2021-09-23T01:49:07.512" v="888"/>
          <ac:graphicFrameMkLst>
            <pc:docMk/>
            <pc:sldMk cId="112122695" sldId="1521"/>
            <ac:graphicFrameMk id="3" creationId="{98833247-0497-4D87-9836-AB8EA0D4AE2C}"/>
          </ac:graphicFrameMkLst>
        </pc:graphicFrameChg>
        <pc:graphicFrameChg chg="add del mod modGraphic">
          <ac:chgData name="Aurelien Domont" userId="6da7715ce44349b3" providerId="LiveId" clId="{3056F74B-79CF-4229-8BA2-4FA2B4329F51}" dt="2021-09-23T01:48:04.753" v="882" actId="478"/>
          <ac:graphicFrameMkLst>
            <pc:docMk/>
            <pc:sldMk cId="112122695" sldId="1521"/>
            <ac:graphicFrameMk id="10" creationId="{23AC34B1-4AB8-4F11-8C60-3B7DB2435F5F}"/>
          </ac:graphicFrameMkLst>
        </pc:graphicFrameChg>
      </pc:sldChg>
      <pc:sldChg chg="del">
        <pc:chgData name="Aurelien Domont" userId="6da7715ce44349b3" providerId="LiveId" clId="{3056F74B-79CF-4229-8BA2-4FA2B4329F51}" dt="2021-09-23T04:32:06.968" v="3575" actId="47"/>
        <pc:sldMkLst>
          <pc:docMk/>
          <pc:sldMk cId="711141970" sldId="1541"/>
        </pc:sldMkLst>
      </pc:sldChg>
      <pc:sldChg chg="del">
        <pc:chgData name="Aurelien Domont" userId="6da7715ce44349b3" providerId="LiveId" clId="{3056F74B-79CF-4229-8BA2-4FA2B4329F51}" dt="2021-09-23T04:32:06.968" v="3575" actId="47"/>
        <pc:sldMkLst>
          <pc:docMk/>
          <pc:sldMk cId="2986124175" sldId="1542"/>
        </pc:sldMkLst>
      </pc:sldChg>
      <pc:sldChg chg="del">
        <pc:chgData name="Aurelien Domont" userId="6da7715ce44349b3" providerId="LiveId" clId="{3056F74B-79CF-4229-8BA2-4FA2B4329F51}" dt="2021-09-23T04:32:06.968" v="3575" actId="47"/>
        <pc:sldMkLst>
          <pc:docMk/>
          <pc:sldMk cId="3717827458" sldId="1557"/>
        </pc:sldMkLst>
      </pc:sldChg>
      <pc:sldChg chg="del">
        <pc:chgData name="Aurelien Domont" userId="6da7715ce44349b3" providerId="LiveId" clId="{3056F74B-79CF-4229-8BA2-4FA2B4329F51}" dt="2021-09-23T04:32:06.968" v="3575" actId="47"/>
        <pc:sldMkLst>
          <pc:docMk/>
          <pc:sldMk cId="2317062444" sldId="1562"/>
        </pc:sldMkLst>
      </pc:sldChg>
      <pc:sldChg chg="del">
        <pc:chgData name="Aurelien Domont" userId="6da7715ce44349b3" providerId="LiveId" clId="{3056F74B-79CF-4229-8BA2-4FA2B4329F51}" dt="2021-09-23T04:32:06.968" v="3575" actId="47"/>
        <pc:sldMkLst>
          <pc:docMk/>
          <pc:sldMk cId="597933806" sldId="1925"/>
        </pc:sldMkLst>
      </pc:sldChg>
      <pc:sldChg chg="del">
        <pc:chgData name="Aurelien Domont" userId="6da7715ce44349b3" providerId="LiveId" clId="{3056F74B-79CF-4229-8BA2-4FA2B4329F51}" dt="2021-09-23T04:32:06.968" v="3575" actId="47"/>
        <pc:sldMkLst>
          <pc:docMk/>
          <pc:sldMk cId="317604876" sldId="1935"/>
        </pc:sldMkLst>
      </pc:sldChg>
      <pc:sldChg chg="del">
        <pc:chgData name="Aurelien Domont" userId="6da7715ce44349b3" providerId="LiveId" clId="{3056F74B-79CF-4229-8BA2-4FA2B4329F51}" dt="2021-09-23T04:32:06.968" v="3575" actId="47"/>
        <pc:sldMkLst>
          <pc:docMk/>
          <pc:sldMk cId="460632394" sldId="2035"/>
        </pc:sldMkLst>
      </pc:sldChg>
      <pc:sldChg chg="del">
        <pc:chgData name="Aurelien Domont" userId="6da7715ce44349b3" providerId="LiveId" clId="{3056F74B-79CF-4229-8BA2-4FA2B4329F51}" dt="2021-09-23T04:32:06.968" v="3575" actId="47"/>
        <pc:sldMkLst>
          <pc:docMk/>
          <pc:sldMk cId="2346025138" sldId="2155"/>
        </pc:sldMkLst>
      </pc:sldChg>
      <pc:sldChg chg="del">
        <pc:chgData name="Aurelien Domont" userId="6da7715ce44349b3" providerId="LiveId" clId="{3056F74B-79CF-4229-8BA2-4FA2B4329F51}" dt="2021-09-23T04:32:06.968" v="3575" actId="47"/>
        <pc:sldMkLst>
          <pc:docMk/>
          <pc:sldMk cId="1479295029" sldId="2156"/>
        </pc:sldMkLst>
      </pc:sldChg>
      <pc:sldChg chg="addSp delSp modSp mod">
        <pc:chgData name="Aurelien Domont" userId="6da7715ce44349b3" providerId="LiveId" clId="{3056F74B-79CF-4229-8BA2-4FA2B4329F51}" dt="2021-09-22T07:04:33.662" v="36" actId="20577"/>
        <pc:sldMkLst>
          <pc:docMk/>
          <pc:sldMk cId="1110778063" sldId="2183"/>
        </pc:sldMkLst>
        <pc:spChg chg="del mod">
          <ac:chgData name="Aurelien Domont" userId="6da7715ce44349b3" providerId="LiveId" clId="{3056F74B-79CF-4229-8BA2-4FA2B4329F51}" dt="2021-09-22T07:03:22.335" v="23" actId="478"/>
          <ac:spMkLst>
            <pc:docMk/>
            <pc:sldMk cId="1110778063" sldId="2183"/>
            <ac:spMk id="15" creationId="{2A81C16F-CC22-4A25-B117-CEC9F23C11D8}"/>
          </ac:spMkLst>
        </pc:spChg>
        <pc:spChg chg="mod">
          <ac:chgData name="Aurelien Domont" userId="6da7715ce44349b3" providerId="LiveId" clId="{3056F74B-79CF-4229-8BA2-4FA2B4329F51}" dt="2021-09-22T07:03:38.476" v="34" actId="20577"/>
          <ac:spMkLst>
            <pc:docMk/>
            <pc:sldMk cId="1110778063" sldId="2183"/>
            <ac:spMk id="16" creationId="{6C2BB713-9637-4B9B-938F-E9768876782A}"/>
          </ac:spMkLst>
        </pc:spChg>
        <pc:spChg chg="del">
          <ac:chgData name="Aurelien Domont" userId="6da7715ce44349b3" providerId="LiveId" clId="{3056F74B-79CF-4229-8BA2-4FA2B4329F51}" dt="2021-09-22T07:03:22.335" v="23" actId="478"/>
          <ac:spMkLst>
            <pc:docMk/>
            <pc:sldMk cId="1110778063" sldId="2183"/>
            <ac:spMk id="17" creationId="{0612994F-4C0F-46A7-8C83-BD53F448356F}"/>
          </ac:spMkLst>
        </pc:spChg>
        <pc:spChg chg="del">
          <ac:chgData name="Aurelien Domont" userId="6da7715ce44349b3" providerId="LiveId" clId="{3056F74B-79CF-4229-8BA2-4FA2B4329F51}" dt="2021-09-22T07:03:22.335" v="23" actId="478"/>
          <ac:spMkLst>
            <pc:docMk/>
            <pc:sldMk cId="1110778063" sldId="2183"/>
            <ac:spMk id="20" creationId="{694578FB-0D1F-4AB2-BDF6-6965DE3EA45D}"/>
          </ac:spMkLst>
        </pc:spChg>
        <pc:spChg chg="del">
          <ac:chgData name="Aurelien Domont" userId="6da7715ce44349b3" providerId="LiveId" clId="{3056F74B-79CF-4229-8BA2-4FA2B4329F51}" dt="2021-09-22T07:03:22.335" v="23" actId="478"/>
          <ac:spMkLst>
            <pc:docMk/>
            <pc:sldMk cId="1110778063" sldId="2183"/>
            <ac:spMk id="21" creationId="{78553F3C-B34A-44DC-8F4A-FA9996E804C0}"/>
          </ac:spMkLst>
        </pc:spChg>
        <pc:spChg chg="del">
          <ac:chgData name="Aurelien Domont" userId="6da7715ce44349b3" providerId="LiveId" clId="{3056F74B-79CF-4229-8BA2-4FA2B4329F51}" dt="2021-09-22T07:03:22.335" v="23" actId="478"/>
          <ac:spMkLst>
            <pc:docMk/>
            <pc:sldMk cId="1110778063" sldId="2183"/>
            <ac:spMk id="22" creationId="{53022067-A1B7-454B-9F78-6FB2CB988552}"/>
          </ac:spMkLst>
        </pc:spChg>
        <pc:spChg chg="add del mod">
          <ac:chgData name="Aurelien Domont" userId="6da7715ce44349b3" providerId="LiveId" clId="{3056F74B-79CF-4229-8BA2-4FA2B4329F51}" dt="2021-09-22T07:03:25.247" v="25"/>
          <ac:spMkLst>
            <pc:docMk/>
            <pc:sldMk cId="1110778063" sldId="2183"/>
            <ac:spMk id="23" creationId="{850965C9-8563-49E2-B594-882168569002}"/>
          </ac:spMkLst>
        </pc:spChg>
        <pc:spChg chg="del mod">
          <ac:chgData name="Aurelien Domont" userId="6da7715ce44349b3" providerId="LiveId" clId="{3056F74B-79CF-4229-8BA2-4FA2B4329F51}" dt="2021-09-22T07:03:22.335" v="23" actId="478"/>
          <ac:spMkLst>
            <pc:docMk/>
            <pc:sldMk cId="1110778063" sldId="2183"/>
            <ac:spMk id="24" creationId="{8BB249CC-737E-40A7-A0D4-49F800240E40}"/>
          </ac:spMkLst>
        </pc:spChg>
        <pc:spChg chg="add del mod">
          <ac:chgData name="Aurelien Domont" userId="6da7715ce44349b3" providerId="LiveId" clId="{3056F74B-79CF-4229-8BA2-4FA2B4329F51}" dt="2021-09-22T07:03:25.247" v="25"/>
          <ac:spMkLst>
            <pc:docMk/>
            <pc:sldMk cId="1110778063" sldId="2183"/>
            <ac:spMk id="26" creationId="{00538DD9-CE17-4E78-A1CA-7BF82AE60227}"/>
          </ac:spMkLst>
        </pc:spChg>
        <pc:spChg chg="add del mod">
          <ac:chgData name="Aurelien Domont" userId="6da7715ce44349b3" providerId="LiveId" clId="{3056F74B-79CF-4229-8BA2-4FA2B4329F51}" dt="2021-09-22T07:03:25.247" v="25"/>
          <ac:spMkLst>
            <pc:docMk/>
            <pc:sldMk cId="1110778063" sldId="2183"/>
            <ac:spMk id="27" creationId="{EDF901D9-A5DD-4105-8496-74CA2D79F37E}"/>
          </ac:spMkLst>
        </pc:spChg>
        <pc:spChg chg="add del mod">
          <ac:chgData name="Aurelien Domont" userId="6da7715ce44349b3" providerId="LiveId" clId="{3056F74B-79CF-4229-8BA2-4FA2B4329F51}" dt="2021-09-22T07:03:25.247" v="25"/>
          <ac:spMkLst>
            <pc:docMk/>
            <pc:sldMk cId="1110778063" sldId="2183"/>
            <ac:spMk id="29" creationId="{08517130-62D5-4CEC-98FE-FA48AD12262C}"/>
          </ac:spMkLst>
        </pc:spChg>
        <pc:spChg chg="add del mod">
          <ac:chgData name="Aurelien Domont" userId="6da7715ce44349b3" providerId="LiveId" clId="{3056F74B-79CF-4229-8BA2-4FA2B4329F51}" dt="2021-09-22T07:03:25.247" v="25"/>
          <ac:spMkLst>
            <pc:docMk/>
            <pc:sldMk cId="1110778063" sldId="2183"/>
            <ac:spMk id="30" creationId="{2ACEBF49-FC25-4027-8579-BF0351A31F02}"/>
          </ac:spMkLst>
        </pc:spChg>
        <pc:spChg chg="del">
          <ac:chgData name="Aurelien Domont" userId="6da7715ce44349b3" providerId="LiveId" clId="{3056F74B-79CF-4229-8BA2-4FA2B4329F51}" dt="2021-09-22T07:03:22.335" v="23" actId="478"/>
          <ac:spMkLst>
            <pc:docMk/>
            <pc:sldMk cId="1110778063" sldId="2183"/>
            <ac:spMk id="35" creationId="{32CD15F6-7334-4EFC-BEBC-0AA3A5ED870E}"/>
          </ac:spMkLst>
        </pc:spChg>
        <pc:spChg chg="del">
          <ac:chgData name="Aurelien Domont" userId="6da7715ce44349b3" providerId="LiveId" clId="{3056F74B-79CF-4229-8BA2-4FA2B4329F51}" dt="2021-09-22T07:03:22.335" v="23" actId="478"/>
          <ac:spMkLst>
            <pc:docMk/>
            <pc:sldMk cId="1110778063" sldId="2183"/>
            <ac:spMk id="36" creationId="{9FDDE490-4E5E-4CC7-9B62-24A2AE550D99}"/>
          </ac:spMkLst>
        </pc:spChg>
        <pc:spChg chg="del">
          <ac:chgData name="Aurelien Domont" userId="6da7715ce44349b3" providerId="LiveId" clId="{3056F74B-79CF-4229-8BA2-4FA2B4329F51}" dt="2021-09-22T07:03:22.335" v="23" actId="478"/>
          <ac:spMkLst>
            <pc:docMk/>
            <pc:sldMk cId="1110778063" sldId="2183"/>
            <ac:spMk id="37" creationId="{D806B388-9BB0-42EC-B26F-E83645BCF996}"/>
          </ac:spMkLst>
        </pc:spChg>
        <pc:spChg chg="del">
          <ac:chgData name="Aurelien Domont" userId="6da7715ce44349b3" providerId="LiveId" clId="{3056F74B-79CF-4229-8BA2-4FA2B4329F51}" dt="2021-09-22T07:03:22.335" v="23" actId="478"/>
          <ac:spMkLst>
            <pc:docMk/>
            <pc:sldMk cId="1110778063" sldId="2183"/>
            <ac:spMk id="38" creationId="{DE83091C-D708-4C05-8EE4-A8A01069803B}"/>
          </ac:spMkLst>
        </pc:spChg>
        <pc:spChg chg="del">
          <ac:chgData name="Aurelien Domont" userId="6da7715ce44349b3" providerId="LiveId" clId="{3056F74B-79CF-4229-8BA2-4FA2B4329F51}" dt="2021-09-22T07:03:22.335" v="23" actId="478"/>
          <ac:spMkLst>
            <pc:docMk/>
            <pc:sldMk cId="1110778063" sldId="2183"/>
            <ac:spMk id="39" creationId="{9285E603-4312-4F5A-B1EB-1A8D74E2221B}"/>
          </ac:spMkLst>
        </pc:spChg>
        <pc:spChg chg="del">
          <ac:chgData name="Aurelien Domont" userId="6da7715ce44349b3" providerId="LiveId" clId="{3056F74B-79CF-4229-8BA2-4FA2B4329F51}" dt="2021-09-22T07:02:45.052" v="19" actId="478"/>
          <ac:spMkLst>
            <pc:docMk/>
            <pc:sldMk cId="1110778063" sldId="2183"/>
            <ac:spMk id="40" creationId="{EAF5868B-382A-43AD-B3A1-1A535E83837F}"/>
          </ac:spMkLst>
        </pc:spChg>
        <pc:spChg chg="add del mod">
          <ac:chgData name="Aurelien Domont" userId="6da7715ce44349b3" providerId="LiveId" clId="{3056F74B-79CF-4229-8BA2-4FA2B4329F51}" dt="2021-09-22T07:03:25.247" v="25"/>
          <ac:spMkLst>
            <pc:docMk/>
            <pc:sldMk cId="1110778063" sldId="2183"/>
            <ac:spMk id="52" creationId="{C65EDA6F-BB7E-4C9A-A879-05A3AC0C424B}"/>
          </ac:spMkLst>
        </pc:spChg>
        <pc:spChg chg="add del mod">
          <ac:chgData name="Aurelien Domont" userId="6da7715ce44349b3" providerId="LiveId" clId="{3056F74B-79CF-4229-8BA2-4FA2B4329F51}" dt="2021-09-22T07:03:25.247" v="25"/>
          <ac:spMkLst>
            <pc:docMk/>
            <pc:sldMk cId="1110778063" sldId="2183"/>
            <ac:spMk id="53" creationId="{64A19BC4-5F3F-4323-89CD-93FC659779BD}"/>
          </ac:spMkLst>
        </pc:spChg>
        <pc:spChg chg="add del mod">
          <ac:chgData name="Aurelien Domont" userId="6da7715ce44349b3" providerId="LiveId" clId="{3056F74B-79CF-4229-8BA2-4FA2B4329F51}" dt="2021-09-22T07:03:25.247" v="25"/>
          <ac:spMkLst>
            <pc:docMk/>
            <pc:sldMk cId="1110778063" sldId="2183"/>
            <ac:spMk id="54" creationId="{757C4563-6BC4-4413-8308-5C7D38065B65}"/>
          </ac:spMkLst>
        </pc:spChg>
        <pc:spChg chg="add del mod">
          <ac:chgData name="Aurelien Domont" userId="6da7715ce44349b3" providerId="LiveId" clId="{3056F74B-79CF-4229-8BA2-4FA2B4329F51}" dt="2021-09-22T07:03:25.247" v="25"/>
          <ac:spMkLst>
            <pc:docMk/>
            <pc:sldMk cId="1110778063" sldId="2183"/>
            <ac:spMk id="55" creationId="{D43CCA2B-D436-47F7-B742-4D01128BE178}"/>
          </ac:spMkLst>
        </pc:spChg>
        <pc:spChg chg="add del mod">
          <ac:chgData name="Aurelien Domont" userId="6da7715ce44349b3" providerId="LiveId" clId="{3056F74B-79CF-4229-8BA2-4FA2B4329F51}" dt="2021-09-22T07:03:25.247" v="25"/>
          <ac:spMkLst>
            <pc:docMk/>
            <pc:sldMk cId="1110778063" sldId="2183"/>
            <ac:spMk id="56" creationId="{0717BEBF-DD92-468B-A7E1-2EECFAAA540A}"/>
          </ac:spMkLst>
        </pc:spChg>
        <pc:spChg chg="add del mod">
          <ac:chgData name="Aurelien Domont" userId="6da7715ce44349b3" providerId="LiveId" clId="{3056F74B-79CF-4229-8BA2-4FA2B4329F51}" dt="2021-09-22T07:03:25.247" v="25"/>
          <ac:spMkLst>
            <pc:docMk/>
            <pc:sldMk cId="1110778063" sldId="2183"/>
            <ac:spMk id="57" creationId="{DAD14C54-A226-4345-A382-FE39EE854550}"/>
          </ac:spMkLst>
        </pc:spChg>
        <pc:spChg chg="add mod">
          <ac:chgData name="Aurelien Domont" userId="6da7715ce44349b3" providerId="LiveId" clId="{3056F74B-79CF-4229-8BA2-4FA2B4329F51}" dt="2021-09-22T07:03:45.996" v="35" actId="207"/>
          <ac:spMkLst>
            <pc:docMk/>
            <pc:sldMk cId="1110778063" sldId="2183"/>
            <ac:spMk id="58" creationId="{8EC5A2FC-FC90-4F2C-A7C9-4F13BFFF0F0B}"/>
          </ac:spMkLst>
        </pc:spChg>
        <pc:spChg chg="add mod">
          <ac:chgData name="Aurelien Domont" userId="6da7715ce44349b3" providerId="LiveId" clId="{3056F74B-79CF-4229-8BA2-4FA2B4329F51}" dt="2021-09-22T07:03:29.732" v="26"/>
          <ac:spMkLst>
            <pc:docMk/>
            <pc:sldMk cId="1110778063" sldId="2183"/>
            <ac:spMk id="59" creationId="{1A8CF0CB-06ED-4B6E-82F4-49752DF7D285}"/>
          </ac:spMkLst>
        </pc:spChg>
        <pc:spChg chg="add mod">
          <ac:chgData name="Aurelien Domont" userId="6da7715ce44349b3" providerId="LiveId" clId="{3056F74B-79CF-4229-8BA2-4FA2B4329F51}" dt="2021-09-22T07:03:29.732" v="26"/>
          <ac:spMkLst>
            <pc:docMk/>
            <pc:sldMk cId="1110778063" sldId="2183"/>
            <ac:spMk id="60" creationId="{996CA9A4-3BC1-4692-B9C4-38ACF5CB637B}"/>
          </ac:spMkLst>
        </pc:spChg>
        <pc:spChg chg="add mod">
          <ac:chgData name="Aurelien Domont" userId="6da7715ce44349b3" providerId="LiveId" clId="{3056F74B-79CF-4229-8BA2-4FA2B4329F51}" dt="2021-09-22T07:03:29.732" v="26"/>
          <ac:spMkLst>
            <pc:docMk/>
            <pc:sldMk cId="1110778063" sldId="2183"/>
            <ac:spMk id="61" creationId="{2650748F-B50C-4879-AD56-9C43F0259E19}"/>
          </ac:spMkLst>
        </pc:spChg>
        <pc:spChg chg="add mod">
          <ac:chgData name="Aurelien Domont" userId="6da7715ce44349b3" providerId="LiveId" clId="{3056F74B-79CF-4229-8BA2-4FA2B4329F51}" dt="2021-09-22T07:03:29.732" v="26"/>
          <ac:spMkLst>
            <pc:docMk/>
            <pc:sldMk cId="1110778063" sldId="2183"/>
            <ac:spMk id="62" creationId="{253C3F97-599A-48C1-942A-C0AA9BE4FD9D}"/>
          </ac:spMkLst>
        </pc:spChg>
        <pc:spChg chg="add mod">
          <ac:chgData name="Aurelien Domont" userId="6da7715ce44349b3" providerId="LiveId" clId="{3056F74B-79CF-4229-8BA2-4FA2B4329F51}" dt="2021-09-22T07:03:29.732" v="26"/>
          <ac:spMkLst>
            <pc:docMk/>
            <pc:sldMk cId="1110778063" sldId="2183"/>
            <ac:spMk id="63" creationId="{9C1CBF8B-AFBD-4FFE-8BA6-E905A8E1AB2C}"/>
          </ac:spMkLst>
        </pc:spChg>
        <pc:spChg chg="add mod">
          <ac:chgData name="Aurelien Domont" userId="6da7715ce44349b3" providerId="LiveId" clId="{3056F74B-79CF-4229-8BA2-4FA2B4329F51}" dt="2021-09-22T07:03:29.732" v="26"/>
          <ac:spMkLst>
            <pc:docMk/>
            <pc:sldMk cId="1110778063" sldId="2183"/>
            <ac:spMk id="75" creationId="{EC335A50-F0AB-4CFC-97C5-E628D9C1B7E7}"/>
          </ac:spMkLst>
        </pc:spChg>
        <pc:spChg chg="add mod">
          <ac:chgData name="Aurelien Domont" userId="6da7715ce44349b3" providerId="LiveId" clId="{3056F74B-79CF-4229-8BA2-4FA2B4329F51}" dt="2021-09-22T07:03:29.732" v="26"/>
          <ac:spMkLst>
            <pc:docMk/>
            <pc:sldMk cId="1110778063" sldId="2183"/>
            <ac:spMk id="76" creationId="{35BDBBB0-B864-4D14-8C33-B59018BA2477}"/>
          </ac:spMkLst>
        </pc:spChg>
        <pc:spChg chg="add mod">
          <ac:chgData name="Aurelien Domont" userId="6da7715ce44349b3" providerId="LiveId" clId="{3056F74B-79CF-4229-8BA2-4FA2B4329F51}" dt="2021-09-22T07:04:33.662" v="36" actId="20577"/>
          <ac:spMkLst>
            <pc:docMk/>
            <pc:sldMk cId="1110778063" sldId="2183"/>
            <ac:spMk id="77" creationId="{C717DA0A-F837-43E9-B421-E4CD7C412B66}"/>
          </ac:spMkLst>
        </pc:spChg>
        <pc:spChg chg="add mod">
          <ac:chgData name="Aurelien Domont" userId="6da7715ce44349b3" providerId="LiveId" clId="{3056F74B-79CF-4229-8BA2-4FA2B4329F51}" dt="2021-09-22T07:03:29.732" v="26"/>
          <ac:spMkLst>
            <pc:docMk/>
            <pc:sldMk cId="1110778063" sldId="2183"/>
            <ac:spMk id="78" creationId="{93905D2B-26D0-4825-BE9A-CBCA19C2E50B}"/>
          </ac:spMkLst>
        </pc:spChg>
        <pc:spChg chg="add mod">
          <ac:chgData name="Aurelien Domont" userId="6da7715ce44349b3" providerId="LiveId" clId="{3056F74B-79CF-4229-8BA2-4FA2B4329F51}" dt="2021-09-22T07:03:29.732" v="26"/>
          <ac:spMkLst>
            <pc:docMk/>
            <pc:sldMk cId="1110778063" sldId="2183"/>
            <ac:spMk id="79" creationId="{9CBC8D51-6F6C-42D6-8A5A-7CC6B293DCC3}"/>
          </ac:spMkLst>
        </pc:spChg>
        <pc:spChg chg="add mod">
          <ac:chgData name="Aurelien Domont" userId="6da7715ce44349b3" providerId="LiveId" clId="{3056F74B-79CF-4229-8BA2-4FA2B4329F51}" dt="2021-09-22T07:03:29.732" v="26"/>
          <ac:spMkLst>
            <pc:docMk/>
            <pc:sldMk cId="1110778063" sldId="2183"/>
            <ac:spMk id="80" creationId="{C29EFF6B-5B73-48C1-9F0D-20C5A7252D7D}"/>
          </ac:spMkLst>
        </pc:spChg>
        <pc:picChg chg="del">
          <ac:chgData name="Aurelien Domont" userId="6da7715ce44349b3" providerId="LiveId" clId="{3056F74B-79CF-4229-8BA2-4FA2B4329F51}" dt="2021-09-22T07:03:22.335" v="23" actId="478"/>
          <ac:picMkLst>
            <pc:docMk/>
            <pc:sldMk cId="1110778063" sldId="2183"/>
            <ac:picMk id="25" creationId="{3E48B280-594D-4FB1-B252-D4F6C193496A}"/>
          </ac:picMkLst>
        </pc:picChg>
        <pc:picChg chg="del">
          <ac:chgData name="Aurelien Domont" userId="6da7715ce44349b3" providerId="LiveId" clId="{3056F74B-79CF-4229-8BA2-4FA2B4329F51}" dt="2021-09-22T07:03:22.335" v="23" actId="478"/>
          <ac:picMkLst>
            <pc:docMk/>
            <pc:sldMk cId="1110778063" sldId="2183"/>
            <ac:picMk id="28" creationId="{F40B3C19-B651-4036-A19F-480ECEDD0BEA}"/>
          </ac:picMkLst>
        </pc:picChg>
        <pc:picChg chg="del">
          <ac:chgData name="Aurelien Domont" userId="6da7715ce44349b3" providerId="LiveId" clId="{3056F74B-79CF-4229-8BA2-4FA2B4329F51}" dt="2021-09-22T07:03:22.335" v="23" actId="478"/>
          <ac:picMkLst>
            <pc:docMk/>
            <pc:sldMk cId="1110778063" sldId="2183"/>
            <ac:picMk id="31" creationId="{DC553BE9-8D0D-4610-ADD3-CD2E43B35308}"/>
          </ac:picMkLst>
        </pc:picChg>
        <pc:picChg chg="del">
          <ac:chgData name="Aurelien Domont" userId="6da7715ce44349b3" providerId="LiveId" clId="{3056F74B-79CF-4229-8BA2-4FA2B4329F51}" dt="2021-09-22T07:03:22.335" v="23" actId="478"/>
          <ac:picMkLst>
            <pc:docMk/>
            <pc:sldMk cId="1110778063" sldId="2183"/>
            <ac:picMk id="32" creationId="{AEE2B5AC-D136-4C1E-8747-B3D879077EF5}"/>
          </ac:picMkLst>
        </pc:picChg>
        <pc:picChg chg="del">
          <ac:chgData name="Aurelien Domont" userId="6da7715ce44349b3" providerId="LiveId" clId="{3056F74B-79CF-4229-8BA2-4FA2B4329F51}" dt="2021-09-22T07:03:22.335" v="23" actId="478"/>
          <ac:picMkLst>
            <pc:docMk/>
            <pc:sldMk cId="1110778063" sldId="2183"/>
            <ac:picMk id="33" creationId="{3C0FEB8A-33E0-46C0-9F51-2127C8FB5F08}"/>
          </ac:picMkLst>
        </pc:picChg>
        <pc:picChg chg="del">
          <ac:chgData name="Aurelien Domont" userId="6da7715ce44349b3" providerId="LiveId" clId="{3056F74B-79CF-4229-8BA2-4FA2B4329F51}" dt="2021-09-22T07:03:22.335" v="23" actId="478"/>
          <ac:picMkLst>
            <pc:docMk/>
            <pc:sldMk cId="1110778063" sldId="2183"/>
            <ac:picMk id="34" creationId="{6F58A75D-CBCA-410B-BC60-E57C1A43A775}"/>
          </ac:picMkLst>
        </pc:picChg>
        <pc:picChg chg="add del mod">
          <ac:chgData name="Aurelien Domont" userId="6da7715ce44349b3" providerId="LiveId" clId="{3056F74B-79CF-4229-8BA2-4FA2B4329F51}" dt="2021-09-22T07:03:25.247" v="25"/>
          <ac:picMkLst>
            <pc:docMk/>
            <pc:sldMk cId="1110778063" sldId="2183"/>
            <ac:picMk id="41" creationId="{0A4E9077-460C-43A4-B756-7FFCC1E05662}"/>
          </ac:picMkLst>
        </pc:picChg>
        <pc:picChg chg="add del mod">
          <ac:chgData name="Aurelien Domont" userId="6da7715ce44349b3" providerId="LiveId" clId="{3056F74B-79CF-4229-8BA2-4FA2B4329F51}" dt="2021-09-22T07:03:25.247" v="25"/>
          <ac:picMkLst>
            <pc:docMk/>
            <pc:sldMk cId="1110778063" sldId="2183"/>
            <ac:picMk id="42" creationId="{10C13637-2B08-442E-92C0-67B553588EC9}"/>
          </ac:picMkLst>
        </pc:picChg>
        <pc:picChg chg="add del mod">
          <ac:chgData name="Aurelien Domont" userId="6da7715ce44349b3" providerId="LiveId" clId="{3056F74B-79CF-4229-8BA2-4FA2B4329F51}" dt="2021-09-22T07:03:25.247" v="25"/>
          <ac:picMkLst>
            <pc:docMk/>
            <pc:sldMk cId="1110778063" sldId="2183"/>
            <ac:picMk id="43" creationId="{B3067B00-3964-4EA0-8763-D3990DC52708}"/>
          </ac:picMkLst>
        </pc:picChg>
        <pc:picChg chg="add del mod">
          <ac:chgData name="Aurelien Domont" userId="6da7715ce44349b3" providerId="LiveId" clId="{3056F74B-79CF-4229-8BA2-4FA2B4329F51}" dt="2021-09-22T07:03:25.247" v="25"/>
          <ac:picMkLst>
            <pc:docMk/>
            <pc:sldMk cId="1110778063" sldId="2183"/>
            <ac:picMk id="44" creationId="{7283A4CD-463B-4026-A98E-0AE2DA737E62}"/>
          </ac:picMkLst>
        </pc:picChg>
        <pc:picChg chg="add del mod">
          <ac:chgData name="Aurelien Domont" userId="6da7715ce44349b3" providerId="LiveId" clId="{3056F74B-79CF-4229-8BA2-4FA2B4329F51}" dt="2021-09-22T07:03:25.247" v="25"/>
          <ac:picMkLst>
            <pc:docMk/>
            <pc:sldMk cId="1110778063" sldId="2183"/>
            <ac:picMk id="45" creationId="{2A25986A-4DE3-4FAE-8425-433C3B39F38A}"/>
          </ac:picMkLst>
        </pc:picChg>
        <pc:picChg chg="add del mod">
          <ac:chgData name="Aurelien Domont" userId="6da7715ce44349b3" providerId="LiveId" clId="{3056F74B-79CF-4229-8BA2-4FA2B4329F51}" dt="2021-09-22T07:03:25.247" v="25"/>
          <ac:picMkLst>
            <pc:docMk/>
            <pc:sldMk cId="1110778063" sldId="2183"/>
            <ac:picMk id="46" creationId="{03D0CCC6-F28D-41B0-8D5D-982A2BBC31D2}"/>
          </ac:picMkLst>
        </pc:picChg>
        <pc:picChg chg="add mod">
          <ac:chgData name="Aurelien Domont" userId="6da7715ce44349b3" providerId="LiveId" clId="{3056F74B-79CF-4229-8BA2-4FA2B4329F51}" dt="2021-09-22T07:03:29.732" v="26"/>
          <ac:picMkLst>
            <pc:docMk/>
            <pc:sldMk cId="1110778063" sldId="2183"/>
            <ac:picMk id="64" creationId="{57A61CAA-ACC3-46F3-B468-E22F84FFC79C}"/>
          </ac:picMkLst>
        </pc:picChg>
        <pc:picChg chg="add mod">
          <ac:chgData name="Aurelien Domont" userId="6da7715ce44349b3" providerId="LiveId" clId="{3056F74B-79CF-4229-8BA2-4FA2B4329F51}" dt="2021-09-22T07:03:29.732" v="26"/>
          <ac:picMkLst>
            <pc:docMk/>
            <pc:sldMk cId="1110778063" sldId="2183"/>
            <ac:picMk id="65" creationId="{3107F273-099A-4EE3-A99B-52FE94298423}"/>
          </ac:picMkLst>
        </pc:picChg>
        <pc:picChg chg="add mod">
          <ac:chgData name="Aurelien Domont" userId="6da7715ce44349b3" providerId="LiveId" clId="{3056F74B-79CF-4229-8BA2-4FA2B4329F51}" dt="2021-09-22T07:03:29.732" v="26"/>
          <ac:picMkLst>
            <pc:docMk/>
            <pc:sldMk cId="1110778063" sldId="2183"/>
            <ac:picMk id="66" creationId="{0532CEFC-C10E-436F-9585-4D042DD8A1E7}"/>
          </ac:picMkLst>
        </pc:picChg>
        <pc:picChg chg="add mod">
          <ac:chgData name="Aurelien Domont" userId="6da7715ce44349b3" providerId="LiveId" clId="{3056F74B-79CF-4229-8BA2-4FA2B4329F51}" dt="2021-09-22T07:03:29.732" v="26"/>
          <ac:picMkLst>
            <pc:docMk/>
            <pc:sldMk cId="1110778063" sldId="2183"/>
            <ac:picMk id="67" creationId="{C6F3C424-E8F5-441E-9F56-4D1DBD2F4AE9}"/>
          </ac:picMkLst>
        </pc:picChg>
        <pc:picChg chg="add mod">
          <ac:chgData name="Aurelien Domont" userId="6da7715ce44349b3" providerId="LiveId" clId="{3056F74B-79CF-4229-8BA2-4FA2B4329F51}" dt="2021-09-22T07:03:29.732" v="26"/>
          <ac:picMkLst>
            <pc:docMk/>
            <pc:sldMk cId="1110778063" sldId="2183"/>
            <ac:picMk id="68" creationId="{395BFC42-F969-44A2-8E86-492A0CCD7E5E}"/>
          </ac:picMkLst>
        </pc:picChg>
        <pc:picChg chg="add mod">
          <ac:chgData name="Aurelien Domont" userId="6da7715ce44349b3" providerId="LiveId" clId="{3056F74B-79CF-4229-8BA2-4FA2B4329F51}" dt="2021-09-22T07:03:29.732" v="26"/>
          <ac:picMkLst>
            <pc:docMk/>
            <pc:sldMk cId="1110778063" sldId="2183"/>
            <ac:picMk id="69" creationId="{E46CB7E9-0C03-408C-9732-B87942F56361}"/>
          </ac:picMkLst>
        </pc:picChg>
        <pc:cxnChg chg="add del mod">
          <ac:chgData name="Aurelien Domont" userId="6da7715ce44349b3" providerId="LiveId" clId="{3056F74B-79CF-4229-8BA2-4FA2B4329F51}" dt="2021-09-22T07:03:25.247" v="25"/>
          <ac:cxnSpMkLst>
            <pc:docMk/>
            <pc:sldMk cId="1110778063" sldId="2183"/>
            <ac:cxnSpMk id="47" creationId="{B6B71BAD-2308-458D-A544-637DD00E25C3}"/>
          </ac:cxnSpMkLst>
        </pc:cxnChg>
        <pc:cxnChg chg="add del mod">
          <ac:chgData name="Aurelien Domont" userId="6da7715ce44349b3" providerId="LiveId" clId="{3056F74B-79CF-4229-8BA2-4FA2B4329F51}" dt="2021-09-22T07:03:25.247" v="25"/>
          <ac:cxnSpMkLst>
            <pc:docMk/>
            <pc:sldMk cId="1110778063" sldId="2183"/>
            <ac:cxnSpMk id="48" creationId="{8EF41244-DECF-46C4-8514-024372331BDF}"/>
          </ac:cxnSpMkLst>
        </pc:cxnChg>
        <pc:cxnChg chg="add del mod">
          <ac:chgData name="Aurelien Domont" userId="6da7715ce44349b3" providerId="LiveId" clId="{3056F74B-79CF-4229-8BA2-4FA2B4329F51}" dt="2021-09-22T07:03:25.247" v="25"/>
          <ac:cxnSpMkLst>
            <pc:docMk/>
            <pc:sldMk cId="1110778063" sldId="2183"/>
            <ac:cxnSpMk id="49" creationId="{F3438E3D-BC61-49C1-A517-3731FF2291D5}"/>
          </ac:cxnSpMkLst>
        </pc:cxnChg>
        <pc:cxnChg chg="add del mod">
          <ac:chgData name="Aurelien Domont" userId="6da7715ce44349b3" providerId="LiveId" clId="{3056F74B-79CF-4229-8BA2-4FA2B4329F51}" dt="2021-09-22T07:03:25.247" v="25"/>
          <ac:cxnSpMkLst>
            <pc:docMk/>
            <pc:sldMk cId="1110778063" sldId="2183"/>
            <ac:cxnSpMk id="50" creationId="{6D61A5B6-1330-450A-8562-42027662657B}"/>
          </ac:cxnSpMkLst>
        </pc:cxnChg>
        <pc:cxnChg chg="add del mod">
          <ac:chgData name="Aurelien Domont" userId="6da7715ce44349b3" providerId="LiveId" clId="{3056F74B-79CF-4229-8BA2-4FA2B4329F51}" dt="2021-09-22T07:03:25.247" v="25"/>
          <ac:cxnSpMkLst>
            <pc:docMk/>
            <pc:sldMk cId="1110778063" sldId="2183"/>
            <ac:cxnSpMk id="51" creationId="{6D2AFE8D-FA33-439A-8CA0-F9FE4DFF939A}"/>
          </ac:cxnSpMkLst>
        </pc:cxnChg>
        <pc:cxnChg chg="add mod">
          <ac:chgData name="Aurelien Domont" userId="6da7715ce44349b3" providerId="LiveId" clId="{3056F74B-79CF-4229-8BA2-4FA2B4329F51}" dt="2021-09-22T07:03:29.732" v="26"/>
          <ac:cxnSpMkLst>
            <pc:docMk/>
            <pc:sldMk cId="1110778063" sldId="2183"/>
            <ac:cxnSpMk id="70" creationId="{3C9743CD-405E-489B-A25C-EB0BA4CD16DC}"/>
          </ac:cxnSpMkLst>
        </pc:cxnChg>
        <pc:cxnChg chg="add mod">
          <ac:chgData name="Aurelien Domont" userId="6da7715ce44349b3" providerId="LiveId" clId="{3056F74B-79CF-4229-8BA2-4FA2B4329F51}" dt="2021-09-22T07:03:29.732" v="26"/>
          <ac:cxnSpMkLst>
            <pc:docMk/>
            <pc:sldMk cId="1110778063" sldId="2183"/>
            <ac:cxnSpMk id="71" creationId="{7BDC3EEB-4FE4-4E1A-890A-117700076608}"/>
          </ac:cxnSpMkLst>
        </pc:cxnChg>
        <pc:cxnChg chg="add mod">
          <ac:chgData name="Aurelien Domont" userId="6da7715ce44349b3" providerId="LiveId" clId="{3056F74B-79CF-4229-8BA2-4FA2B4329F51}" dt="2021-09-22T07:03:29.732" v="26"/>
          <ac:cxnSpMkLst>
            <pc:docMk/>
            <pc:sldMk cId="1110778063" sldId="2183"/>
            <ac:cxnSpMk id="72" creationId="{FB3C9C1B-5C5F-46D1-91E0-8C48D9DBEE25}"/>
          </ac:cxnSpMkLst>
        </pc:cxnChg>
        <pc:cxnChg chg="add mod">
          <ac:chgData name="Aurelien Domont" userId="6da7715ce44349b3" providerId="LiveId" clId="{3056F74B-79CF-4229-8BA2-4FA2B4329F51}" dt="2021-09-22T07:03:29.732" v="26"/>
          <ac:cxnSpMkLst>
            <pc:docMk/>
            <pc:sldMk cId="1110778063" sldId="2183"/>
            <ac:cxnSpMk id="73" creationId="{03D08CE1-3304-451C-A2AA-D6D42164B080}"/>
          </ac:cxnSpMkLst>
        </pc:cxnChg>
        <pc:cxnChg chg="add mod">
          <ac:chgData name="Aurelien Domont" userId="6da7715ce44349b3" providerId="LiveId" clId="{3056F74B-79CF-4229-8BA2-4FA2B4329F51}" dt="2021-09-22T07:03:29.732" v="26"/>
          <ac:cxnSpMkLst>
            <pc:docMk/>
            <pc:sldMk cId="1110778063" sldId="2183"/>
            <ac:cxnSpMk id="74" creationId="{446B4827-0AD5-41BC-BCFF-D6E5916DBF63}"/>
          </ac:cxnSpMkLst>
        </pc:cxnChg>
      </pc:sldChg>
      <pc:sldChg chg="addSp modSp add mod">
        <pc:chgData name="Aurelien Domont" userId="6da7715ce44349b3" providerId="LiveId" clId="{3056F74B-79CF-4229-8BA2-4FA2B4329F51}" dt="2021-09-23T05:03:58.805" v="3950" actId="20577"/>
        <pc:sldMkLst>
          <pc:docMk/>
          <pc:sldMk cId="2328899945" sldId="2215"/>
        </pc:sldMkLst>
        <pc:spChg chg="add mod">
          <ac:chgData name="Aurelien Domont" userId="6da7715ce44349b3" providerId="LiveId" clId="{3056F74B-79CF-4229-8BA2-4FA2B4329F51}" dt="2021-09-23T05:01:03.069" v="3842" actId="14100"/>
          <ac:spMkLst>
            <pc:docMk/>
            <pc:sldMk cId="2328899945" sldId="2215"/>
            <ac:spMk id="33" creationId="{6A5899E6-1E60-4DF7-A0F9-708E3F66575D}"/>
          </ac:spMkLst>
        </pc:spChg>
        <pc:spChg chg="mod">
          <ac:chgData name="Aurelien Domont" userId="6da7715ce44349b3" providerId="LiveId" clId="{3056F74B-79CF-4229-8BA2-4FA2B4329F51}" dt="2021-09-23T05:03:58.805" v="3950" actId="20577"/>
          <ac:spMkLst>
            <pc:docMk/>
            <pc:sldMk cId="2328899945" sldId="2215"/>
            <ac:spMk id="35" creationId="{EACDCCA8-6DB8-4A7A-8D27-79B2373CAABB}"/>
          </ac:spMkLst>
        </pc:spChg>
      </pc:sldChg>
      <pc:sldChg chg="del">
        <pc:chgData name="Aurelien Domont" userId="6da7715ce44349b3" providerId="LiveId" clId="{3056F74B-79CF-4229-8BA2-4FA2B4329F51}" dt="2021-09-22T07:02:35.723" v="16" actId="47"/>
        <pc:sldMkLst>
          <pc:docMk/>
          <pc:sldMk cId="2912464700" sldId="2240"/>
        </pc:sldMkLst>
      </pc:sldChg>
      <pc:sldChg chg="del">
        <pc:chgData name="Aurelien Domont" userId="6da7715ce44349b3" providerId="LiveId" clId="{3056F74B-79CF-4229-8BA2-4FA2B4329F51}" dt="2021-09-23T04:32:11.465" v="3576" actId="47"/>
        <pc:sldMkLst>
          <pc:docMk/>
          <pc:sldMk cId="4242968910" sldId="2241"/>
        </pc:sldMkLst>
      </pc:sldChg>
      <pc:sldChg chg="del">
        <pc:chgData name="Aurelien Domont" userId="6da7715ce44349b3" providerId="LiveId" clId="{3056F74B-79CF-4229-8BA2-4FA2B4329F51}" dt="2021-09-23T04:32:06.968" v="3575" actId="47"/>
        <pc:sldMkLst>
          <pc:docMk/>
          <pc:sldMk cId="1666809826" sldId="2242"/>
        </pc:sldMkLst>
      </pc:sldChg>
      <pc:sldChg chg="del">
        <pc:chgData name="Aurelien Domont" userId="6da7715ce44349b3" providerId="LiveId" clId="{3056F74B-79CF-4229-8BA2-4FA2B4329F51}" dt="2021-09-23T04:32:06.968" v="3575" actId="47"/>
        <pc:sldMkLst>
          <pc:docMk/>
          <pc:sldMk cId="2486072322" sldId="2243"/>
        </pc:sldMkLst>
      </pc:sldChg>
      <pc:sldChg chg="del">
        <pc:chgData name="Aurelien Domont" userId="6da7715ce44349b3" providerId="LiveId" clId="{3056F74B-79CF-4229-8BA2-4FA2B4329F51}" dt="2021-09-23T04:32:06.968" v="3575" actId="47"/>
        <pc:sldMkLst>
          <pc:docMk/>
          <pc:sldMk cId="3127765946" sldId="2244"/>
        </pc:sldMkLst>
      </pc:sldChg>
      <pc:sldChg chg="del">
        <pc:chgData name="Aurelien Domont" userId="6da7715ce44349b3" providerId="LiveId" clId="{3056F74B-79CF-4229-8BA2-4FA2B4329F51}" dt="2021-09-23T04:32:06.968" v="3575" actId="47"/>
        <pc:sldMkLst>
          <pc:docMk/>
          <pc:sldMk cId="2239908635" sldId="2245"/>
        </pc:sldMkLst>
      </pc:sldChg>
      <pc:sldChg chg="del">
        <pc:chgData name="Aurelien Domont" userId="6da7715ce44349b3" providerId="LiveId" clId="{3056F74B-79CF-4229-8BA2-4FA2B4329F51}" dt="2021-09-23T04:32:06.968" v="3575" actId="47"/>
        <pc:sldMkLst>
          <pc:docMk/>
          <pc:sldMk cId="1755437089" sldId="2247"/>
        </pc:sldMkLst>
      </pc:sldChg>
      <pc:sldChg chg="del">
        <pc:chgData name="Aurelien Domont" userId="6da7715ce44349b3" providerId="LiveId" clId="{3056F74B-79CF-4229-8BA2-4FA2B4329F51}" dt="2021-09-23T04:32:06.968" v="3575" actId="47"/>
        <pc:sldMkLst>
          <pc:docMk/>
          <pc:sldMk cId="2703452683" sldId="2248"/>
        </pc:sldMkLst>
      </pc:sldChg>
      <pc:sldChg chg="del">
        <pc:chgData name="Aurelien Domont" userId="6da7715ce44349b3" providerId="LiveId" clId="{3056F74B-79CF-4229-8BA2-4FA2B4329F51}" dt="2021-09-23T04:32:06.968" v="3575" actId="47"/>
        <pc:sldMkLst>
          <pc:docMk/>
          <pc:sldMk cId="3803122314" sldId="2249"/>
        </pc:sldMkLst>
      </pc:sldChg>
      <pc:sldChg chg="addSp modSp new mod">
        <pc:chgData name="Aurelien Domont" userId="6da7715ce44349b3" providerId="LiveId" clId="{3056F74B-79CF-4229-8BA2-4FA2B4329F51}" dt="2021-09-22T07:03:00.285" v="22" actId="13822"/>
        <pc:sldMkLst>
          <pc:docMk/>
          <pc:sldMk cId="3884493708" sldId="2250"/>
        </pc:sldMkLst>
        <pc:spChg chg="add mod">
          <ac:chgData name="Aurelien Domont" userId="6da7715ce44349b3" providerId="LiveId" clId="{3056F74B-79CF-4229-8BA2-4FA2B4329F51}" dt="2021-09-22T07:03:00.285" v="22" actId="13822"/>
          <ac:spMkLst>
            <pc:docMk/>
            <pc:sldMk cId="3884493708" sldId="2250"/>
            <ac:spMk id="8" creationId="{F7EA3C0D-CFFA-4FD6-A914-F053EB5328B3}"/>
          </ac:spMkLst>
        </pc:spChg>
      </pc:sldChg>
      <pc:sldChg chg="addSp modSp add mod">
        <pc:chgData name="Aurelien Domont" userId="6da7715ce44349b3" providerId="LiveId" clId="{3056F74B-79CF-4229-8BA2-4FA2B4329F51}" dt="2021-09-22T07:04:47.729" v="41" actId="167"/>
        <pc:sldMkLst>
          <pc:docMk/>
          <pc:sldMk cId="2756278302" sldId="2251"/>
        </pc:sldMkLst>
        <pc:spChg chg="add mod ord">
          <ac:chgData name="Aurelien Domont" userId="6da7715ce44349b3" providerId="LiveId" clId="{3056F74B-79CF-4229-8BA2-4FA2B4329F51}" dt="2021-09-22T07:04:47.729" v="41" actId="167"/>
          <ac:spMkLst>
            <pc:docMk/>
            <pc:sldMk cId="2756278302" sldId="2251"/>
            <ac:spMk id="28" creationId="{123D1C09-AAA1-4965-AD42-C496C5E915FD}"/>
          </ac:spMkLst>
        </pc:spChg>
      </pc:sldChg>
      <pc:sldChg chg="modSp add del mod">
        <pc:chgData name="Aurelien Domont" userId="6da7715ce44349b3" providerId="LiveId" clId="{3056F74B-79CF-4229-8BA2-4FA2B4329F51}" dt="2021-09-22T07:21:27.558" v="236" actId="47"/>
        <pc:sldMkLst>
          <pc:docMk/>
          <pc:sldMk cId="105036993" sldId="2252"/>
        </pc:sldMkLst>
        <pc:spChg chg="mod">
          <ac:chgData name="Aurelien Domont" userId="6da7715ce44349b3" providerId="LiveId" clId="{3056F74B-79CF-4229-8BA2-4FA2B4329F51}" dt="2021-09-22T07:19:49.772" v="235" actId="20577"/>
          <ac:spMkLst>
            <pc:docMk/>
            <pc:sldMk cId="105036993" sldId="2252"/>
            <ac:spMk id="16" creationId="{6C2BB713-9637-4B9B-938F-E9768876782A}"/>
          </ac:spMkLst>
        </pc:spChg>
      </pc:sldChg>
      <pc:sldChg chg="addSp modSp add del mod">
        <pc:chgData name="Aurelien Domont" userId="6da7715ce44349b3" providerId="LiveId" clId="{3056F74B-79CF-4229-8BA2-4FA2B4329F51}" dt="2021-09-23T01:56:54.750" v="1290" actId="47"/>
        <pc:sldMkLst>
          <pc:docMk/>
          <pc:sldMk cId="1616615726" sldId="2252"/>
        </pc:sldMkLst>
        <pc:spChg chg="add mod">
          <ac:chgData name="Aurelien Domont" userId="6da7715ce44349b3" providerId="LiveId" clId="{3056F74B-79CF-4229-8BA2-4FA2B4329F51}" dt="2021-09-22T07:58:57.559" v="579" actId="20577"/>
          <ac:spMkLst>
            <pc:docMk/>
            <pc:sldMk cId="1616615726" sldId="2252"/>
            <ac:spMk id="7" creationId="{48E3857A-2389-45F3-9B0D-3EAD488E21C0}"/>
          </ac:spMkLst>
        </pc:spChg>
        <pc:spChg chg="mod">
          <ac:chgData name="Aurelien Domont" userId="6da7715ce44349b3" providerId="LiveId" clId="{3056F74B-79CF-4229-8BA2-4FA2B4329F51}" dt="2021-09-22T07:58:39.623" v="548" actId="14100"/>
          <ac:spMkLst>
            <pc:docMk/>
            <pc:sldMk cId="1616615726" sldId="2252"/>
            <ac:spMk id="11" creationId="{13E6A2BE-DB0E-4839-8D3F-8D2D93544B34}"/>
          </ac:spMkLst>
        </pc:spChg>
      </pc:sldChg>
      <pc:sldChg chg="addSp delSp modSp add mod">
        <pc:chgData name="Aurelien Domont" userId="6da7715ce44349b3" providerId="LiveId" clId="{3056F74B-79CF-4229-8BA2-4FA2B4329F51}" dt="2021-09-23T02:03:30.321" v="1522" actId="20577"/>
        <pc:sldMkLst>
          <pc:docMk/>
          <pc:sldMk cId="430783151" sldId="2253"/>
        </pc:sldMkLst>
        <pc:spChg chg="add del mod">
          <ac:chgData name="Aurelien Domont" userId="6da7715ce44349b3" providerId="LiveId" clId="{3056F74B-79CF-4229-8BA2-4FA2B4329F51}" dt="2021-09-23T01:58:28.336" v="1317" actId="478"/>
          <ac:spMkLst>
            <pc:docMk/>
            <pc:sldMk cId="430783151" sldId="2253"/>
            <ac:spMk id="3" creationId="{C16DFC42-7F6A-487E-A7EA-5F16CDB29613}"/>
          </ac:spMkLst>
        </pc:spChg>
        <pc:spChg chg="del">
          <ac:chgData name="Aurelien Domont" userId="6da7715ce44349b3" providerId="LiveId" clId="{3056F74B-79CF-4229-8BA2-4FA2B4329F51}" dt="2021-09-22T08:03:51.309" v="707" actId="478"/>
          <ac:spMkLst>
            <pc:docMk/>
            <pc:sldMk cId="430783151" sldId="2253"/>
            <ac:spMk id="7" creationId="{48E3857A-2389-45F3-9B0D-3EAD488E21C0}"/>
          </ac:spMkLst>
        </pc:spChg>
        <pc:spChg chg="add mod">
          <ac:chgData name="Aurelien Domont" userId="6da7715ce44349b3" providerId="LiveId" clId="{3056F74B-79CF-4229-8BA2-4FA2B4329F51}" dt="2021-09-23T02:00:00.246" v="1366"/>
          <ac:spMkLst>
            <pc:docMk/>
            <pc:sldMk cId="430783151" sldId="2253"/>
            <ac:spMk id="8" creationId="{9CE17FD7-ADB2-4730-BB9A-3947995554F7}"/>
          </ac:spMkLst>
        </pc:spChg>
        <pc:spChg chg="add mod">
          <ac:chgData name="Aurelien Domont" userId="6da7715ce44349b3" providerId="LiveId" clId="{3056F74B-79CF-4229-8BA2-4FA2B4329F51}" dt="2021-09-23T02:00:00.246" v="1366"/>
          <ac:spMkLst>
            <pc:docMk/>
            <pc:sldMk cId="430783151" sldId="2253"/>
            <ac:spMk id="9" creationId="{81DFC6B1-0CB8-4282-BCFC-615D7B8D51ED}"/>
          </ac:spMkLst>
        </pc:spChg>
        <pc:spChg chg="del">
          <ac:chgData name="Aurelien Domont" userId="6da7715ce44349b3" providerId="LiveId" clId="{3056F74B-79CF-4229-8BA2-4FA2B4329F51}" dt="2021-09-22T08:03:50.475" v="706" actId="478"/>
          <ac:spMkLst>
            <pc:docMk/>
            <pc:sldMk cId="430783151" sldId="2253"/>
            <ac:spMk id="11" creationId="{13E6A2BE-DB0E-4839-8D3F-8D2D93544B34}"/>
          </ac:spMkLst>
        </pc:spChg>
        <pc:spChg chg="mod">
          <ac:chgData name="Aurelien Domont" userId="6da7715ce44349b3" providerId="LiveId" clId="{3056F74B-79CF-4229-8BA2-4FA2B4329F51}" dt="2021-09-23T02:03:30.321" v="1522" actId="20577"/>
          <ac:spMkLst>
            <pc:docMk/>
            <pc:sldMk cId="430783151" sldId="2253"/>
            <ac:spMk id="16" creationId="{6C2BB713-9637-4B9B-938F-E9768876782A}"/>
          </ac:spMkLst>
        </pc:spChg>
        <pc:graphicFrameChg chg="add mod modGraphic">
          <ac:chgData name="Aurelien Domont" userId="6da7715ce44349b3" providerId="LiveId" clId="{3056F74B-79CF-4229-8BA2-4FA2B4329F51}" dt="2021-09-23T02:02:41.946" v="1494" actId="404"/>
          <ac:graphicFrameMkLst>
            <pc:docMk/>
            <pc:sldMk cId="430783151" sldId="2253"/>
            <ac:graphicFrameMk id="7" creationId="{2BA29E36-7938-4A0B-9ACC-C42DF839FF39}"/>
          </ac:graphicFrameMkLst>
        </pc:graphicFrameChg>
        <pc:graphicFrameChg chg="del modGraphic">
          <ac:chgData name="Aurelien Domont" userId="6da7715ce44349b3" providerId="LiveId" clId="{3056F74B-79CF-4229-8BA2-4FA2B4329F51}" dt="2021-09-23T01:58:37.111" v="1318" actId="478"/>
          <ac:graphicFrameMkLst>
            <pc:docMk/>
            <pc:sldMk cId="430783151" sldId="2253"/>
            <ac:graphicFrameMk id="10" creationId="{23AC34B1-4AB8-4F11-8C60-3B7DB2435F5F}"/>
          </ac:graphicFrameMkLst>
        </pc:graphicFrameChg>
      </pc:sldChg>
      <pc:sldChg chg="addSp modSp add mod ord">
        <pc:chgData name="Aurelien Domont" userId="6da7715ce44349b3" providerId="LiveId" clId="{3056F74B-79CF-4229-8BA2-4FA2B4329F51}" dt="2021-09-23T01:53:32.911" v="1101" actId="14100"/>
        <pc:sldMkLst>
          <pc:docMk/>
          <pc:sldMk cId="1614003528" sldId="2254"/>
        </pc:sldMkLst>
        <pc:spChg chg="add mod">
          <ac:chgData name="Aurelien Domont" userId="6da7715ce44349b3" providerId="LiveId" clId="{3056F74B-79CF-4229-8BA2-4FA2B4329F51}" dt="2021-09-23T01:52:32.341" v="960" actId="1076"/>
          <ac:spMkLst>
            <pc:docMk/>
            <pc:sldMk cId="1614003528" sldId="2254"/>
            <ac:spMk id="3" creationId="{421A66C2-B691-4389-824C-E3F18372E226}"/>
          </ac:spMkLst>
        </pc:spChg>
        <pc:spChg chg="add mod">
          <ac:chgData name="Aurelien Domont" userId="6da7715ce44349b3" providerId="LiveId" clId="{3056F74B-79CF-4229-8BA2-4FA2B4329F51}" dt="2021-09-23T01:53:32.911" v="1101" actId="14100"/>
          <ac:spMkLst>
            <pc:docMk/>
            <pc:sldMk cId="1614003528" sldId="2254"/>
            <ac:spMk id="4" creationId="{8D12591C-F2B2-4B92-BBEE-9DA06EF86BF5}"/>
          </ac:spMkLst>
        </pc:spChg>
        <pc:spChg chg="mod">
          <ac:chgData name="Aurelien Domont" userId="6da7715ce44349b3" providerId="LiveId" clId="{3056F74B-79CF-4229-8BA2-4FA2B4329F51}" dt="2021-09-23T01:50:14.277" v="937" actId="20577"/>
          <ac:spMkLst>
            <pc:docMk/>
            <pc:sldMk cId="1614003528" sldId="2254"/>
            <ac:spMk id="16" creationId="{6C2BB713-9637-4B9B-938F-E9768876782A}"/>
          </ac:spMkLst>
        </pc:spChg>
        <pc:graphicFrameChg chg="mod modGraphic">
          <ac:chgData name="Aurelien Domont" userId="6da7715ce44349b3" providerId="LiveId" clId="{3056F74B-79CF-4229-8BA2-4FA2B4329F51}" dt="2021-09-23T01:52:20.505" v="958" actId="14734"/>
          <ac:graphicFrameMkLst>
            <pc:docMk/>
            <pc:sldMk cId="1614003528" sldId="2254"/>
            <ac:graphicFrameMk id="10" creationId="{23AC34B1-4AB8-4F11-8C60-3B7DB2435F5F}"/>
          </ac:graphicFrameMkLst>
        </pc:graphicFrameChg>
      </pc:sldChg>
      <pc:sldChg chg="addSp modSp add mod">
        <pc:chgData name="Aurelien Domont" userId="6da7715ce44349b3" providerId="LiveId" clId="{3056F74B-79CF-4229-8BA2-4FA2B4329F51}" dt="2021-09-23T01:56:42.392" v="1289" actId="6549"/>
        <pc:sldMkLst>
          <pc:docMk/>
          <pc:sldMk cId="3267209286" sldId="2255"/>
        </pc:sldMkLst>
        <pc:spChg chg="add mod">
          <ac:chgData name="Aurelien Domont" userId="6da7715ce44349b3" providerId="LiveId" clId="{3056F74B-79CF-4229-8BA2-4FA2B4329F51}" dt="2021-09-23T01:54:44.861" v="1107" actId="14100"/>
          <ac:spMkLst>
            <pc:docMk/>
            <pc:sldMk cId="3267209286" sldId="2255"/>
            <ac:spMk id="8" creationId="{422046E5-4236-4DA6-A7FA-28377F764577}"/>
          </ac:spMkLst>
        </pc:spChg>
        <pc:spChg chg="add mod">
          <ac:chgData name="Aurelien Domont" userId="6da7715ce44349b3" providerId="LiveId" clId="{3056F74B-79CF-4229-8BA2-4FA2B4329F51}" dt="2021-09-23T01:56:42.392" v="1289" actId="6549"/>
          <ac:spMkLst>
            <pc:docMk/>
            <pc:sldMk cId="3267209286" sldId="2255"/>
            <ac:spMk id="9" creationId="{344E1E47-F5D0-4B38-BE8C-A15927D389C3}"/>
          </ac:spMkLst>
        </pc:spChg>
      </pc:sldChg>
      <pc:sldChg chg="modSp add mod">
        <pc:chgData name="Aurelien Domont" userId="6da7715ce44349b3" providerId="LiveId" clId="{3056F74B-79CF-4229-8BA2-4FA2B4329F51}" dt="2021-09-23T02:08:33.804" v="1958" actId="20577"/>
        <pc:sldMkLst>
          <pc:docMk/>
          <pc:sldMk cId="1414117607" sldId="2256"/>
        </pc:sldMkLst>
        <pc:spChg chg="mod">
          <ac:chgData name="Aurelien Domont" userId="6da7715ce44349b3" providerId="LiveId" clId="{3056F74B-79CF-4229-8BA2-4FA2B4329F51}" dt="2021-09-23T02:08:33.804" v="1958" actId="20577"/>
          <ac:spMkLst>
            <pc:docMk/>
            <pc:sldMk cId="1414117607" sldId="2256"/>
            <ac:spMk id="87" creationId="{97A9D4FC-0843-4477-A7B4-85DA8107A3A5}"/>
          </ac:spMkLst>
        </pc:spChg>
      </pc:sldChg>
      <pc:sldChg chg="addSp modSp add mod">
        <pc:chgData name="Aurelien Domont" userId="6da7715ce44349b3" providerId="LiveId" clId="{3056F74B-79CF-4229-8BA2-4FA2B4329F51}" dt="2021-09-23T02:05:44.802" v="1774" actId="313"/>
        <pc:sldMkLst>
          <pc:docMk/>
          <pc:sldMk cId="3165524075" sldId="2257"/>
        </pc:sldMkLst>
        <pc:spChg chg="add mod">
          <ac:chgData name="Aurelien Domont" userId="6da7715ce44349b3" providerId="LiveId" clId="{3056F74B-79CF-4229-8BA2-4FA2B4329F51}" dt="2021-09-23T02:05:44.802" v="1774" actId="313"/>
          <ac:spMkLst>
            <pc:docMk/>
            <pc:sldMk cId="3165524075" sldId="2257"/>
            <ac:spMk id="10" creationId="{8F89796E-D8A9-45A9-97A6-3C2C9544E4F4}"/>
          </ac:spMkLst>
        </pc:spChg>
      </pc:sldChg>
      <pc:sldChg chg="addSp delSp modSp add mod">
        <pc:chgData name="Aurelien Domont" userId="6da7715ce44349b3" providerId="LiveId" clId="{3056F74B-79CF-4229-8BA2-4FA2B4329F51}" dt="2021-09-23T02:12:21.664" v="2056" actId="20577"/>
        <pc:sldMkLst>
          <pc:docMk/>
          <pc:sldMk cId="3181436094" sldId="2258"/>
        </pc:sldMkLst>
        <pc:spChg chg="mod">
          <ac:chgData name="Aurelien Domont" userId="6da7715ce44349b3" providerId="LiveId" clId="{3056F74B-79CF-4229-8BA2-4FA2B4329F51}" dt="2021-09-23T02:12:21.664" v="2056" actId="20577"/>
          <ac:spMkLst>
            <pc:docMk/>
            <pc:sldMk cId="3181436094" sldId="2258"/>
            <ac:spMk id="16" creationId="{6C2BB713-9637-4B9B-938F-E9768876782A}"/>
          </ac:spMkLst>
        </pc:spChg>
        <pc:spChg chg="mod topLvl">
          <ac:chgData name="Aurelien Domont" userId="6da7715ce44349b3" providerId="LiveId" clId="{3056F74B-79CF-4229-8BA2-4FA2B4329F51}" dt="2021-09-23T02:09:44.310" v="1976" actId="165"/>
          <ac:spMkLst>
            <pc:docMk/>
            <pc:sldMk cId="3181436094" sldId="2258"/>
            <ac:spMk id="21" creationId="{C4154393-69BD-4256-83B9-7AB6B511F539}"/>
          </ac:spMkLst>
        </pc:spChg>
        <pc:spChg chg="mod topLvl">
          <ac:chgData name="Aurelien Domont" userId="6da7715ce44349b3" providerId="LiveId" clId="{3056F74B-79CF-4229-8BA2-4FA2B4329F51}" dt="2021-09-23T02:09:44.310" v="1976" actId="165"/>
          <ac:spMkLst>
            <pc:docMk/>
            <pc:sldMk cId="3181436094" sldId="2258"/>
            <ac:spMk id="36" creationId="{211A113D-B49F-4321-9B64-2DA0316D05F7}"/>
          </ac:spMkLst>
        </pc:spChg>
        <pc:spChg chg="mod topLvl">
          <ac:chgData name="Aurelien Domont" userId="6da7715ce44349b3" providerId="LiveId" clId="{3056F74B-79CF-4229-8BA2-4FA2B4329F51}" dt="2021-09-23T02:09:44.310" v="1976" actId="165"/>
          <ac:spMkLst>
            <pc:docMk/>
            <pc:sldMk cId="3181436094" sldId="2258"/>
            <ac:spMk id="38" creationId="{5684BCB9-1D64-4814-8E68-C23822DA165B}"/>
          </ac:spMkLst>
        </pc:spChg>
        <pc:spChg chg="mod topLvl">
          <ac:chgData name="Aurelien Domont" userId="6da7715ce44349b3" providerId="LiveId" clId="{3056F74B-79CF-4229-8BA2-4FA2B4329F51}" dt="2021-09-23T02:09:44.310" v="1976" actId="165"/>
          <ac:spMkLst>
            <pc:docMk/>
            <pc:sldMk cId="3181436094" sldId="2258"/>
            <ac:spMk id="40" creationId="{B2BE7CAA-8DE3-4194-9626-AB0115E835C9}"/>
          </ac:spMkLst>
        </pc:spChg>
        <pc:spChg chg="mod topLvl">
          <ac:chgData name="Aurelien Domont" userId="6da7715ce44349b3" providerId="LiveId" clId="{3056F74B-79CF-4229-8BA2-4FA2B4329F51}" dt="2021-09-23T02:09:44.310" v="1976" actId="165"/>
          <ac:spMkLst>
            <pc:docMk/>
            <pc:sldMk cId="3181436094" sldId="2258"/>
            <ac:spMk id="42" creationId="{7B87E424-9BB0-4DE3-B024-133E76635D87}"/>
          </ac:spMkLst>
        </pc:spChg>
        <pc:spChg chg="mod topLvl">
          <ac:chgData name="Aurelien Domont" userId="6da7715ce44349b3" providerId="LiveId" clId="{3056F74B-79CF-4229-8BA2-4FA2B4329F51}" dt="2021-09-23T02:09:44.310" v="1976" actId="165"/>
          <ac:spMkLst>
            <pc:docMk/>
            <pc:sldMk cId="3181436094" sldId="2258"/>
            <ac:spMk id="43" creationId="{F4838B57-EE6F-4E30-A12E-B872C18B1D4C}"/>
          </ac:spMkLst>
        </pc:spChg>
        <pc:spChg chg="mod topLvl">
          <ac:chgData name="Aurelien Domont" userId="6da7715ce44349b3" providerId="LiveId" clId="{3056F74B-79CF-4229-8BA2-4FA2B4329F51}" dt="2021-09-23T02:09:44.310" v="1976" actId="165"/>
          <ac:spMkLst>
            <pc:docMk/>
            <pc:sldMk cId="3181436094" sldId="2258"/>
            <ac:spMk id="44" creationId="{C30115AD-B707-4CF9-A747-D3623D3C6BF8}"/>
          </ac:spMkLst>
        </pc:spChg>
        <pc:spChg chg="mod topLvl">
          <ac:chgData name="Aurelien Domont" userId="6da7715ce44349b3" providerId="LiveId" clId="{3056F74B-79CF-4229-8BA2-4FA2B4329F51}" dt="2021-09-23T02:09:44.310" v="1976" actId="165"/>
          <ac:spMkLst>
            <pc:docMk/>
            <pc:sldMk cId="3181436094" sldId="2258"/>
            <ac:spMk id="45" creationId="{99B6D50A-B294-4D0F-8B1E-9B38F1A523C9}"/>
          </ac:spMkLst>
        </pc:spChg>
        <pc:spChg chg="mod topLvl">
          <ac:chgData name="Aurelien Domont" userId="6da7715ce44349b3" providerId="LiveId" clId="{3056F74B-79CF-4229-8BA2-4FA2B4329F51}" dt="2021-09-23T02:09:44.310" v="1976" actId="165"/>
          <ac:spMkLst>
            <pc:docMk/>
            <pc:sldMk cId="3181436094" sldId="2258"/>
            <ac:spMk id="46" creationId="{0C1E9E94-3187-4E28-A3E8-6D938E1E36FC}"/>
          </ac:spMkLst>
        </pc:spChg>
        <pc:spChg chg="mod topLvl">
          <ac:chgData name="Aurelien Domont" userId="6da7715ce44349b3" providerId="LiveId" clId="{3056F74B-79CF-4229-8BA2-4FA2B4329F51}" dt="2021-09-23T02:09:44.310" v="1976" actId="165"/>
          <ac:spMkLst>
            <pc:docMk/>
            <pc:sldMk cId="3181436094" sldId="2258"/>
            <ac:spMk id="47" creationId="{DF8F2D9C-C6D5-420E-A6CA-DABA3F278C41}"/>
          </ac:spMkLst>
        </pc:spChg>
        <pc:spChg chg="mod topLvl">
          <ac:chgData name="Aurelien Domont" userId="6da7715ce44349b3" providerId="LiveId" clId="{3056F74B-79CF-4229-8BA2-4FA2B4329F51}" dt="2021-09-23T02:09:44.310" v="1976" actId="165"/>
          <ac:spMkLst>
            <pc:docMk/>
            <pc:sldMk cId="3181436094" sldId="2258"/>
            <ac:spMk id="48" creationId="{8B5BE61E-CDDB-4AE1-9944-013194E926A4}"/>
          </ac:spMkLst>
        </pc:spChg>
        <pc:spChg chg="mod topLvl">
          <ac:chgData name="Aurelien Domont" userId="6da7715ce44349b3" providerId="LiveId" clId="{3056F74B-79CF-4229-8BA2-4FA2B4329F51}" dt="2021-09-23T02:09:44.310" v="1976" actId="165"/>
          <ac:spMkLst>
            <pc:docMk/>
            <pc:sldMk cId="3181436094" sldId="2258"/>
            <ac:spMk id="49" creationId="{2B937D59-C264-4807-919D-50F2812E1036}"/>
          </ac:spMkLst>
        </pc:spChg>
        <pc:spChg chg="mod topLvl">
          <ac:chgData name="Aurelien Domont" userId="6da7715ce44349b3" providerId="LiveId" clId="{3056F74B-79CF-4229-8BA2-4FA2B4329F51}" dt="2021-09-23T02:09:44.310" v="1976" actId="165"/>
          <ac:spMkLst>
            <pc:docMk/>
            <pc:sldMk cId="3181436094" sldId="2258"/>
            <ac:spMk id="50" creationId="{481A89CF-0D73-491D-8282-F8F0DCC1BB60}"/>
          </ac:spMkLst>
        </pc:spChg>
        <pc:spChg chg="mod topLvl">
          <ac:chgData name="Aurelien Domont" userId="6da7715ce44349b3" providerId="LiveId" clId="{3056F74B-79CF-4229-8BA2-4FA2B4329F51}" dt="2021-09-23T02:10:18.643" v="2000" actId="404"/>
          <ac:spMkLst>
            <pc:docMk/>
            <pc:sldMk cId="3181436094" sldId="2258"/>
            <ac:spMk id="51" creationId="{87F524F2-DB0A-497B-A015-6AB8BB50C7DC}"/>
          </ac:spMkLst>
        </pc:spChg>
        <pc:spChg chg="mod topLvl">
          <ac:chgData name="Aurelien Domont" userId="6da7715ce44349b3" providerId="LiveId" clId="{3056F74B-79CF-4229-8BA2-4FA2B4329F51}" dt="2021-09-23T02:09:44.310" v="1976" actId="165"/>
          <ac:spMkLst>
            <pc:docMk/>
            <pc:sldMk cId="3181436094" sldId="2258"/>
            <ac:spMk id="52" creationId="{1C7F0B0F-3163-40F7-B092-B169DE5DF34F}"/>
          </ac:spMkLst>
        </pc:spChg>
        <pc:spChg chg="mod topLvl">
          <ac:chgData name="Aurelien Domont" userId="6da7715ce44349b3" providerId="LiveId" clId="{3056F74B-79CF-4229-8BA2-4FA2B4329F51}" dt="2021-09-23T02:11:26.216" v="2029" actId="404"/>
          <ac:spMkLst>
            <pc:docMk/>
            <pc:sldMk cId="3181436094" sldId="2258"/>
            <ac:spMk id="54" creationId="{3049FC8B-EC07-4FAB-9A2A-E25F30FAD3DB}"/>
          </ac:spMkLst>
        </pc:spChg>
        <pc:spChg chg="mod topLvl">
          <ac:chgData name="Aurelien Domont" userId="6da7715ce44349b3" providerId="LiveId" clId="{3056F74B-79CF-4229-8BA2-4FA2B4329F51}" dt="2021-09-23T02:11:26.216" v="2029" actId="404"/>
          <ac:spMkLst>
            <pc:docMk/>
            <pc:sldMk cId="3181436094" sldId="2258"/>
            <ac:spMk id="55" creationId="{B6BBF957-02CB-4753-8A2A-72CFCA193CD0}"/>
          </ac:spMkLst>
        </pc:spChg>
        <pc:spChg chg="mod topLvl">
          <ac:chgData name="Aurelien Domont" userId="6da7715ce44349b3" providerId="LiveId" clId="{3056F74B-79CF-4229-8BA2-4FA2B4329F51}" dt="2021-09-23T02:11:26.216" v="2029" actId="404"/>
          <ac:spMkLst>
            <pc:docMk/>
            <pc:sldMk cId="3181436094" sldId="2258"/>
            <ac:spMk id="56" creationId="{021B3EC8-FEE0-4DE5-A9ED-9B096D09C664}"/>
          </ac:spMkLst>
        </pc:spChg>
        <pc:spChg chg="mod topLvl">
          <ac:chgData name="Aurelien Domont" userId="6da7715ce44349b3" providerId="LiveId" clId="{3056F74B-79CF-4229-8BA2-4FA2B4329F51}" dt="2021-09-23T02:11:26.216" v="2029" actId="404"/>
          <ac:spMkLst>
            <pc:docMk/>
            <pc:sldMk cId="3181436094" sldId="2258"/>
            <ac:spMk id="57" creationId="{60A302CD-8BA3-4164-A028-36B7D833D215}"/>
          </ac:spMkLst>
        </pc:spChg>
        <pc:spChg chg="mod topLvl">
          <ac:chgData name="Aurelien Domont" userId="6da7715ce44349b3" providerId="LiveId" clId="{3056F74B-79CF-4229-8BA2-4FA2B4329F51}" dt="2021-09-23T02:11:26.216" v="2029" actId="404"/>
          <ac:spMkLst>
            <pc:docMk/>
            <pc:sldMk cId="3181436094" sldId="2258"/>
            <ac:spMk id="58" creationId="{39B1B9DF-818B-4061-B61E-D8FD2EB8FCA5}"/>
          </ac:spMkLst>
        </pc:spChg>
        <pc:spChg chg="mod topLvl">
          <ac:chgData name="Aurelien Domont" userId="6da7715ce44349b3" providerId="LiveId" clId="{3056F74B-79CF-4229-8BA2-4FA2B4329F51}" dt="2021-09-23T02:09:44.310" v="1976" actId="165"/>
          <ac:spMkLst>
            <pc:docMk/>
            <pc:sldMk cId="3181436094" sldId="2258"/>
            <ac:spMk id="59" creationId="{47D07FE2-2696-4C97-8F35-2CE77D3847CA}"/>
          </ac:spMkLst>
        </pc:spChg>
        <pc:spChg chg="mod topLvl">
          <ac:chgData name="Aurelien Domont" userId="6da7715ce44349b3" providerId="LiveId" clId="{3056F74B-79CF-4229-8BA2-4FA2B4329F51}" dt="2021-09-23T02:09:44.310" v="1976" actId="165"/>
          <ac:spMkLst>
            <pc:docMk/>
            <pc:sldMk cId="3181436094" sldId="2258"/>
            <ac:spMk id="60" creationId="{EC994E38-37BF-4241-ADAB-2AE4B667994E}"/>
          </ac:spMkLst>
        </pc:spChg>
        <pc:spChg chg="mod topLvl">
          <ac:chgData name="Aurelien Domont" userId="6da7715ce44349b3" providerId="LiveId" clId="{3056F74B-79CF-4229-8BA2-4FA2B4329F51}" dt="2021-09-23T02:09:44.310" v="1976" actId="165"/>
          <ac:spMkLst>
            <pc:docMk/>
            <pc:sldMk cId="3181436094" sldId="2258"/>
            <ac:spMk id="61" creationId="{63F7EB39-9B80-4769-B09D-ECBBC2A6CE88}"/>
          </ac:spMkLst>
        </pc:spChg>
        <pc:spChg chg="mod topLvl">
          <ac:chgData name="Aurelien Domont" userId="6da7715ce44349b3" providerId="LiveId" clId="{3056F74B-79CF-4229-8BA2-4FA2B4329F51}" dt="2021-09-23T02:09:44.310" v="1976" actId="165"/>
          <ac:spMkLst>
            <pc:docMk/>
            <pc:sldMk cId="3181436094" sldId="2258"/>
            <ac:spMk id="62" creationId="{066FFD46-14D4-43F4-A930-149DC8CEE749}"/>
          </ac:spMkLst>
        </pc:spChg>
        <pc:spChg chg="mod topLvl">
          <ac:chgData name="Aurelien Domont" userId="6da7715ce44349b3" providerId="LiveId" clId="{3056F74B-79CF-4229-8BA2-4FA2B4329F51}" dt="2021-09-23T02:09:44.310" v="1976" actId="165"/>
          <ac:spMkLst>
            <pc:docMk/>
            <pc:sldMk cId="3181436094" sldId="2258"/>
            <ac:spMk id="63" creationId="{61087AA6-5327-4B82-993E-69A1259B9DAB}"/>
          </ac:spMkLst>
        </pc:spChg>
        <pc:spChg chg="add mod">
          <ac:chgData name="Aurelien Domont" userId="6da7715ce44349b3" providerId="LiveId" clId="{3056F74B-79CF-4229-8BA2-4FA2B4329F51}" dt="2021-09-23T02:09:06.372" v="1965" actId="571"/>
          <ac:spMkLst>
            <pc:docMk/>
            <pc:sldMk cId="3181436094" sldId="2258"/>
            <ac:spMk id="64" creationId="{B3BE2E1F-9F34-44B0-9E2A-92B2D6BFA059}"/>
          </ac:spMkLst>
        </pc:spChg>
        <pc:spChg chg="add mod">
          <ac:chgData name="Aurelien Domont" userId="6da7715ce44349b3" providerId="LiveId" clId="{3056F74B-79CF-4229-8BA2-4FA2B4329F51}" dt="2021-09-23T02:09:06.372" v="1965" actId="571"/>
          <ac:spMkLst>
            <pc:docMk/>
            <pc:sldMk cId="3181436094" sldId="2258"/>
            <ac:spMk id="65" creationId="{FB8B9E54-CECD-45FA-91D7-9B9B880D8C1B}"/>
          </ac:spMkLst>
        </pc:spChg>
        <pc:spChg chg="add mod">
          <ac:chgData name="Aurelien Domont" userId="6da7715ce44349b3" providerId="LiveId" clId="{3056F74B-79CF-4229-8BA2-4FA2B4329F51}" dt="2021-09-23T02:10:36.589" v="2009" actId="20577"/>
          <ac:spMkLst>
            <pc:docMk/>
            <pc:sldMk cId="3181436094" sldId="2258"/>
            <ac:spMk id="66" creationId="{BD18A0BB-9EB6-47DF-8341-29543FC2A73D}"/>
          </ac:spMkLst>
        </pc:spChg>
        <pc:spChg chg="add mod">
          <ac:chgData name="Aurelien Domont" userId="6da7715ce44349b3" providerId="LiveId" clId="{3056F74B-79CF-4229-8BA2-4FA2B4329F51}" dt="2021-09-23T02:10:18.643" v="2000" actId="404"/>
          <ac:spMkLst>
            <pc:docMk/>
            <pc:sldMk cId="3181436094" sldId="2258"/>
            <ac:spMk id="67" creationId="{E97250C7-CF90-4F8D-B5FA-A7411B92E050}"/>
          </ac:spMkLst>
        </pc:spChg>
        <pc:spChg chg="add mod">
          <ac:chgData name="Aurelien Domont" userId="6da7715ce44349b3" providerId="LiveId" clId="{3056F74B-79CF-4229-8BA2-4FA2B4329F51}" dt="2021-09-23T02:11:26.216" v="2029" actId="404"/>
          <ac:spMkLst>
            <pc:docMk/>
            <pc:sldMk cId="3181436094" sldId="2258"/>
            <ac:spMk id="68" creationId="{B1083587-35A7-47A9-A8F9-877F7963E1A8}"/>
          </ac:spMkLst>
        </pc:spChg>
        <pc:spChg chg="add mod">
          <ac:chgData name="Aurelien Domont" userId="6da7715ce44349b3" providerId="LiveId" clId="{3056F74B-79CF-4229-8BA2-4FA2B4329F51}" dt="2021-09-23T02:11:02.587" v="2020" actId="571"/>
          <ac:spMkLst>
            <pc:docMk/>
            <pc:sldMk cId="3181436094" sldId="2258"/>
            <ac:spMk id="70" creationId="{6D21E194-7E24-48DE-A87D-6FF40ED4941B}"/>
          </ac:spMkLst>
        </pc:spChg>
        <pc:spChg chg="add mod">
          <ac:chgData name="Aurelien Domont" userId="6da7715ce44349b3" providerId="LiveId" clId="{3056F74B-79CF-4229-8BA2-4FA2B4329F51}" dt="2021-09-23T02:11:02.587" v="2020" actId="571"/>
          <ac:spMkLst>
            <pc:docMk/>
            <pc:sldMk cId="3181436094" sldId="2258"/>
            <ac:spMk id="71" creationId="{F1BAB5D2-8039-498A-9B14-BA3D71BB06BC}"/>
          </ac:spMkLst>
        </pc:spChg>
        <pc:spChg chg="mod">
          <ac:chgData name="Aurelien Domont" userId="6da7715ce44349b3" providerId="LiveId" clId="{3056F74B-79CF-4229-8BA2-4FA2B4329F51}" dt="2021-09-23T02:11:53.903" v="2054" actId="20577"/>
          <ac:spMkLst>
            <pc:docMk/>
            <pc:sldMk cId="3181436094" sldId="2258"/>
            <ac:spMk id="87" creationId="{97A9D4FC-0843-4477-A7B4-85DA8107A3A5}"/>
          </ac:spMkLst>
        </pc:spChg>
        <pc:grpChg chg="add del mod">
          <ac:chgData name="Aurelien Domont" userId="6da7715ce44349b3" providerId="LiveId" clId="{3056F74B-79CF-4229-8BA2-4FA2B4329F51}" dt="2021-09-23T02:09:44.310" v="1976" actId="165"/>
          <ac:grpSpMkLst>
            <pc:docMk/>
            <pc:sldMk cId="3181436094" sldId="2258"/>
            <ac:grpSpMk id="2" creationId="{991A0754-2082-49B5-AD0E-EDA1F2EB1508}"/>
          </ac:grpSpMkLst>
        </pc:grpChg>
        <pc:grpChg chg="add mod">
          <ac:chgData name="Aurelien Domont" userId="6da7715ce44349b3" providerId="LiveId" clId="{3056F74B-79CF-4229-8BA2-4FA2B4329F51}" dt="2021-09-23T02:10:06.016" v="1999" actId="1035"/>
          <ac:grpSpMkLst>
            <pc:docMk/>
            <pc:sldMk cId="3181436094" sldId="2258"/>
            <ac:grpSpMk id="5" creationId="{0915063D-D799-4813-ABDF-39CBB1133D96}"/>
          </ac:grpSpMkLst>
        </pc:grpChg>
        <pc:grpChg chg="del mod topLvl">
          <ac:chgData name="Aurelien Domont" userId="6da7715ce44349b3" providerId="LiveId" clId="{3056F74B-79CF-4229-8BA2-4FA2B4329F51}" dt="2021-09-23T02:10:40.987" v="2010" actId="165"/>
          <ac:grpSpMkLst>
            <pc:docMk/>
            <pc:sldMk cId="3181436094" sldId="2258"/>
            <ac:grpSpMk id="53" creationId="{0A5325EB-E675-41A1-82F8-6A8AE32555E7}"/>
          </ac:grpSpMkLst>
        </pc:grpChg>
        <pc:cxnChg chg="mod topLvl">
          <ac:chgData name="Aurelien Domont" userId="6da7715ce44349b3" providerId="LiveId" clId="{3056F74B-79CF-4229-8BA2-4FA2B4329F51}" dt="2021-09-23T02:09:44.310" v="1976" actId="165"/>
          <ac:cxnSpMkLst>
            <pc:docMk/>
            <pc:sldMk cId="3181436094" sldId="2258"/>
            <ac:cxnSpMk id="20" creationId="{20AEA728-4591-4064-BF22-1324704EA368}"/>
          </ac:cxnSpMkLst>
        </pc:cxnChg>
        <pc:cxnChg chg="mod topLvl">
          <ac:chgData name="Aurelien Domont" userId="6da7715ce44349b3" providerId="LiveId" clId="{3056F74B-79CF-4229-8BA2-4FA2B4329F51}" dt="2021-09-23T02:09:44.310" v="1976" actId="165"/>
          <ac:cxnSpMkLst>
            <pc:docMk/>
            <pc:sldMk cId="3181436094" sldId="2258"/>
            <ac:cxnSpMk id="22" creationId="{7B6444FD-EB2F-44DE-BE6A-97C67CD0E2C1}"/>
          </ac:cxnSpMkLst>
        </pc:cxnChg>
        <pc:cxnChg chg="mod topLvl">
          <ac:chgData name="Aurelien Domont" userId="6da7715ce44349b3" providerId="LiveId" clId="{3056F74B-79CF-4229-8BA2-4FA2B4329F51}" dt="2021-09-23T02:09:44.310" v="1976" actId="165"/>
          <ac:cxnSpMkLst>
            <pc:docMk/>
            <pc:sldMk cId="3181436094" sldId="2258"/>
            <ac:cxnSpMk id="37" creationId="{208A4C52-4E6B-427A-83A1-ECE3F1DB2785}"/>
          </ac:cxnSpMkLst>
        </pc:cxnChg>
        <pc:cxnChg chg="mod topLvl">
          <ac:chgData name="Aurelien Domont" userId="6da7715ce44349b3" providerId="LiveId" clId="{3056F74B-79CF-4229-8BA2-4FA2B4329F51}" dt="2021-09-23T02:09:44.310" v="1976" actId="165"/>
          <ac:cxnSpMkLst>
            <pc:docMk/>
            <pc:sldMk cId="3181436094" sldId="2258"/>
            <ac:cxnSpMk id="39" creationId="{C5A847E9-72AE-4EF6-9F3B-B03DC7C7295E}"/>
          </ac:cxnSpMkLst>
        </pc:cxnChg>
        <pc:cxnChg chg="mod topLvl">
          <ac:chgData name="Aurelien Domont" userId="6da7715ce44349b3" providerId="LiveId" clId="{3056F74B-79CF-4229-8BA2-4FA2B4329F51}" dt="2021-09-23T02:09:44.310" v="1976" actId="165"/>
          <ac:cxnSpMkLst>
            <pc:docMk/>
            <pc:sldMk cId="3181436094" sldId="2258"/>
            <ac:cxnSpMk id="41" creationId="{382DAA24-2637-4218-B03C-3D3372996660}"/>
          </ac:cxnSpMkLst>
        </pc:cxnChg>
        <pc:cxnChg chg="add mod">
          <ac:chgData name="Aurelien Domont" userId="6da7715ce44349b3" providerId="LiveId" clId="{3056F74B-79CF-4229-8BA2-4FA2B4329F51}" dt="2021-09-23T02:11:08.090" v="2028" actId="14100"/>
          <ac:cxnSpMkLst>
            <pc:docMk/>
            <pc:sldMk cId="3181436094" sldId="2258"/>
            <ac:cxnSpMk id="69" creationId="{2742DF09-3DD2-49DE-BEC7-D300104F6FB8}"/>
          </ac:cxnSpMkLst>
        </pc:cxnChg>
      </pc:sldChg>
      <pc:sldChg chg="modSp add mod">
        <pc:chgData name="Aurelien Domont" userId="6da7715ce44349b3" providerId="LiveId" clId="{3056F74B-79CF-4229-8BA2-4FA2B4329F51}" dt="2021-09-23T03:30:15.935" v="2087" actId="1035"/>
        <pc:sldMkLst>
          <pc:docMk/>
          <pc:sldMk cId="591530649" sldId="2259"/>
        </pc:sldMkLst>
        <pc:spChg chg="mod">
          <ac:chgData name="Aurelien Domont" userId="6da7715ce44349b3" providerId="LiveId" clId="{3056F74B-79CF-4229-8BA2-4FA2B4329F51}" dt="2021-09-23T03:30:15.935" v="2087" actId="1035"/>
          <ac:spMkLst>
            <pc:docMk/>
            <pc:sldMk cId="591530649" sldId="2259"/>
            <ac:spMk id="28" creationId="{123D1C09-AAA1-4965-AD42-C496C5E915FD}"/>
          </ac:spMkLst>
        </pc:spChg>
      </pc:sldChg>
      <pc:sldChg chg="modSp add mod">
        <pc:chgData name="Aurelien Domont" userId="6da7715ce44349b3" providerId="LiveId" clId="{3056F74B-79CF-4229-8BA2-4FA2B4329F51}" dt="2021-09-23T03:31:46.728" v="2123" actId="1036"/>
        <pc:sldMkLst>
          <pc:docMk/>
          <pc:sldMk cId="3892343677" sldId="2260"/>
        </pc:sldMkLst>
        <pc:spChg chg="mod">
          <ac:chgData name="Aurelien Domont" userId="6da7715ce44349b3" providerId="LiveId" clId="{3056F74B-79CF-4229-8BA2-4FA2B4329F51}" dt="2021-09-23T03:31:46.728" v="2123" actId="1036"/>
          <ac:spMkLst>
            <pc:docMk/>
            <pc:sldMk cId="3892343677" sldId="2260"/>
            <ac:spMk id="28" creationId="{123D1C09-AAA1-4965-AD42-C496C5E915FD}"/>
          </ac:spMkLst>
        </pc:spChg>
        <pc:spChg chg="mod">
          <ac:chgData name="Aurelien Domont" userId="6da7715ce44349b3" providerId="LiveId" clId="{3056F74B-79CF-4229-8BA2-4FA2B4329F51}" dt="2021-09-23T03:30:37.592" v="2089"/>
          <ac:spMkLst>
            <pc:docMk/>
            <pc:sldMk cId="3892343677" sldId="2260"/>
            <ac:spMk id="77" creationId="{C717DA0A-F837-43E9-B421-E4CD7C412B66}"/>
          </ac:spMkLst>
        </pc:spChg>
      </pc:sldChg>
      <pc:sldChg chg="addSp delSp modSp add mod">
        <pc:chgData name="Aurelien Domont" userId="6da7715ce44349b3" providerId="LiveId" clId="{3056F74B-79CF-4229-8BA2-4FA2B4329F51}" dt="2021-09-23T03:49:58.042" v="2495" actId="20577"/>
        <pc:sldMkLst>
          <pc:docMk/>
          <pc:sldMk cId="3587131809" sldId="2261"/>
        </pc:sldMkLst>
        <pc:spChg chg="del">
          <ac:chgData name="Aurelien Domont" userId="6da7715ce44349b3" providerId="LiveId" clId="{3056F74B-79CF-4229-8BA2-4FA2B4329F51}" dt="2021-09-23T03:34:51.514" v="2289" actId="478"/>
          <ac:spMkLst>
            <pc:docMk/>
            <pc:sldMk cId="3587131809" sldId="2261"/>
            <ac:spMk id="8" creationId="{9CE17FD7-ADB2-4730-BB9A-3947995554F7}"/>
          </ac:spMkLst>
        </pc:spChg>
        <pc:spChg chg="del">
          <ac:chgData name="Aurelien Domont" userId="6da7715ce44349b3" providerId="LiveId" clId="{3056F74B-79CF-4229-8BA2-4FA2B4329F51}" dt="2021-09-23T03:34:54.011" v="2290" actId="478"/>
          <ac:spMkLst>
            <pc:docMk/>
            <pc:sldMk cId="3587131809" sldId="2261"/>
            <ac:spMk id="9" creationId="{81DFC6B1-0CB8-4282-BCFC-615D7B8D51ED}"/>
          </ac:spMkLst>
        </pc:spChg>
        <pc:spChg chg="del">
          <ac:chgData name="Aurelien Domont" userId="6da7715ce44349b3" providerId="LiveId" clId="{3056F74B-79CF-4229-8BA2-4FA2B4329F51}" dt="2021-09-23T03:34:19.383" v="2283" actId="478"/>
          <ac:spMkLst>
            <pc:docMk/>
            <pc:sldMk cId="3587131809" sldId="2261"/>
            <ac:spMk id="10" creationId="{8F89796E-D8A9-45A9-97A6-3C2C9544E4F4}"/>
          </ac:spMkLst>
        </pc:spChg>
        <pc:spChg chg="add mod ord">
          <ac:chgData name="Aurelien Domont" userId="6da7715ce44349b3" providerId="LiveId" clId="{3056F74B-79CF-4229-8BA2-4FA2B4329F51}" dt="2021-09-23T03:35:47.838" v="2310" actId="167"/>
          <ac:spMkLst>
            <pc:docMk/>
            <pc:sldMk cId="3587131809" sldId="2261"/>
            <ac:spMk id="11" creationId="{736FBC34-8C71-4AE8-B911-65CC66D78EBE}"/>
          </ac:spMkLst>
        </pc:spChg>
        <pc:spChg chg="mod">
          <ac:chgData name="Aurelien Domont" userId="6da7715ce44349b3" providerId="LiveId" clId="{3056F74B-79CF-4229-8BA2-4FA2B4329F51}" dt="2021-09-23T03:49:58.042" v="2495" actId="20577"/>
          <ac:spMkLst>
            <pc:docMk/>
            <pc:sldMk cId="3587131809" sldId="2261"/>
            <ac:spMk id="16" creationId="{6C2BB713-9637-4B9B-938F-E9768876782A}"/>
          </ac:spMkLst>
        </pc:spChg>
        <pc:graphicFrameChg chg="mod modGraphic">
          <ac:chgData name="Aurelien Domont" userId="6da7715ce44349b3" providerId="LiveId" clId="{3056F74B-79CF-4229-8BA2-4FA2B4329F51}" dt="2021-09-23T03:34:58.758" v="2302" actId="1036"/>
          <ac:graphicFrameMkLst>
            <pc:docMk/>
            <pc:sldMk cId="3587131809" sldId="2261"/>
            <ac:graphicFrameMk id="7" creationId="{2BA29E36-7938-4A0B-9ACC-C42DF839FF39}"/>
          </ac:graphicFrameMkLst>
        </pc:graphicFrameChg>
      </pc:sldChg>
      <pc:sldChg chg="addSp delSp modSp add mod ord">
        <pc:chgData name="Aurelien Domont" userId="6da7715ce44349b3" providerId="LiveId" clId="{3056F74B-79CF-4229-8BA2-4FA2B4329F51}" dt="2021-09-23T05:04:24.370" v="3952" actId="20577"/>
        <pc:sldMkLst>
          <pc:docMk/>
          <pc:sldMk cId="2327582270" sldId="2262"/>
        </pc:sldMkLst>
        <pc:spChg chg="mod">
          <ac:chgData name="Aurelien Domont" userId="6da7715ce44349b3" providerId="LiveId" clId="{3056F74B-79CF-4229-8BA2-4FA2B4329F51}" dt="2021-09-23T04:05:18.316" v="2820" actId="1076"/>
          <ac:spMkLst>
            <pc:docMk/>
            <pc:sldMk cId="2327582270" sldId="2262"/>
            <ac:spMk id="2" creationId="{7837E1C4-A2D7-4558-A504-36AC8920218D}"/>
          </ac:spMkLst>
        </pc:spChg>
        <pc:spChg chg="add mod">
          <ac:chgData name="Aurelien Domont" userId="6da7715ce44349b3" providerId="LiveId" clId="{3056F74B-79CF-4229-8BA2-4FA2B4329F51}" dt="2021-09-23T05:04:24.370" v="3952" actId="20577"/>
          <ac:spMkLst>
            <pc:docMk/>
            <pc:sldMk cId="2327582270" sldId="2262"/>
            <ac:spMk id="3" creationId="{8E0F6653-2007-45F5-9875-6823233B5335}"/>
          </ac:spMkLst>
        </pc:spChg>
        <pc:spChg chg="add mod">
          <ac:chgData name="Aurelien Domont" userId="6da7715ce44349b3" providerId="LiveId" clId="{3056F74B-79CF-4229-8BA2-4FA2B4329F51}" dt="2021-09-23T04:05:26.968" v="2821" actId="1076"/>
          <ac:spMkLst>
            <pc:docMk/>
            <pc:sldMk cId="2327582270" sldId="2262"/>
            <ac:spMk id="8" creationId="{5CAE4651-8C94-40CD-A83B-3DDA44D1E98A}"/>
          </ac:spMkLst>
        </pc:spChg>
        <pc:spChg chg="del">
          <ac:chgData name="Aurelien Domont" userId="6da7715ce44349b3" providerId="LiveId" clId="{3056F74B-79CF-4229-8BA2-4FA2B4329F51}" dt="2021-09-23T03:50:37.013" v="2499" actId="478"/>
          <ac:spMkLst>
            <pc:docMk/>
            <pc:sldMk cId="2327582270" sldId="2262"/>
            <ac:spMk id="11" creationId="{736FBC34-8C71-4AE8-B911-65CC66D78EBE}"/>
          </ac:spMkLst>
        </pc:spChg>
        <pc:spChg chg="add mod">
          <ac:chgData name="Aurelien Domont" userId="6da7715ce44349b3" providerId="LiveId" clId="{3056F74B-79CF-4229-8BA2-4FA2B4329F51}" dt="2021-09-23T04:05:26.968" v="2821" actId="1076"/>
          <ac:spMkLst>
            <pc:docMk/>
            <pc:sldMk cId="2327582270" sldId="2262"/>
            <ac:spMk id="14" creationId="{42C435E9-453B-4470-851E-3B3DDF86E42D}"/>
          </ac:spMkLst>
        </pc:spChg>
        <pc:spChg chg="add mod">
          <ac:chgData name="Aurelien Domont" userId="6da7715ce44349b3" providerId="LiveId" clId="{3056F74B-79CF-4229-8BA2-4FA2B4329F51}" dt="2021-09-23T04:09:14.781" v="2905" actId="20577"/>
          <ac:spMkLst>
            <pc:docMk/>
            <pc:sldMk cId="2327582270" sldId="2262"/>
            <ac:spMk id="15" creationId="{293CA295-36D2-46A4-96E2-A2D07D502636}"/>
          </ac:spMkLst>
        </pc:spChg>
        <pc:spChg chg="mod">
          <ac:chgData name="Aurelien Domont" userId="6da7715ce44349b3" providerId="LiveId" clId="{3056F74B-79CF-4229-8BA2-4FA2B4329F51}" dt="2021-09-23T05:04:22.724" v="3951" actId="20577"/>
          <ac:spMkLst>
            <pc:docMk/>
            <pc:sldMk cId="2327582270" sldId="2262"/>
            <ac:spMk id="16" creationId="{6C2BB713-9637-4B9B-938F-E9768876782A}"/>
          </ac:spMkLst>
        </pc:spChg>
        <pc:spChg chg="add mod">
          <ac:chgData name="Aurelien Domont" userId="6da7715ce44349b3" providerId="LiveId" clId="{3056F74B-79CF-4229-8BA2-4FA2B4329F51}" dt="2021-09-23T04:05:26.968" v="2821" actId="1076"/>
          <ac:spMkLst>
            <pc:docMk/>
            <pc:sldMk cId="2327582270" sldId="2262"/>
            <ac:spMk id="17" creationId="{3E5AAD86-CBAE-49C2-BC71-329ED7529D57}"/>
          </ac:spMkLst>
        </pc:spChg>
        <pc:spChg chg="add mod">
          <ac:chgData name="Aurelien Domont" userId="6da7715ce44349b3" providerId="LiveId" clId="{3056F74B-79CF-4229-8BA2-4FA2B4329F51}" dt="2021-09-23T04:09:21.692" v="2906"/>
          <ac:spMkLst>
            <pc:docMk/>
            <pc:sldMk cId="2327582270" sldId="2262"/>
            <ac:spMk id="18" creationId="{B10D2612-212D-43A4-ACE0-A2F29D546299}"/>
          </ac:spMkLst>
        </pc:spChg>
        <pc:graphicFrameChg chg="del">
          <ac:chgData name="Aurelien Domont" userId="6da7715ce44349b3" providerId="LiveId" clId="{3056F74B-79CF-4229-8BA2-4FA2B4329F51}" dt="2021-09-23T03:50:37.013" v="2499" actId="478"/>
          <ac:graphicFrameMkLst>
            <pc:docMk/>
            <pc:sldMk cId="2327582270" sldId="2262"/>
            <ac:graphicFrameMk id="7" creationId="{2BA29E36-7938-4A0B-9ACC-C42DF839FF39}"/>
          </ac:graphicFrameMkLst>
        </pc:graphicFrameChg>
        <pc:picChg chg="add mod">
          <ac:chgData name="Aurelien Domont" userId="6da7715ce44349b3" providerId="LiveId" clId="{3056F74B-79CF-4229-8BA2-4FA2B4329F51}" dt="2021-09-23T04:05:26.968" v="2821" actId="1076"/>
          <ac:picMkLst>
            <pc:docMk/>
            <pc:sldMk cId="2327582270" sldId="2262"/>
            <ac:picMk id="5" creationId="{65934E0F-F3B1-4A8A-B141-08390C785846}"/>
          </ac:picMkLst>
        </pc:picChg>
        <pc:picChg chg="add mod">
          <ac:chgData name="Aurelien Domont" userId="6da7715ce44349b3" providerId="LiveId" clId="{3056F74B-79CF-4229-8BA2-4FA2B4329F51}" dt="2021-09-23T04:05:26.968" v="2821" actId="1076"/>
          <ac:picMkLst>
            <pc:docMk/>
            <pc:sldMk cId="2327582270" sldId="2262"/>
            <ac:picMk id="9" creationId="{7C7628A0-9F60-42FD-AEEC-F631367DC915}"/>
          </ac:picMkLst>
        </pc:picChg>
      </pc:sldChg>
      <pc:sldChg chg="modSp add mod">
        <pc:chgData name="Aurelien Domont" userId="6da7715ce44349b3" providerId="LiveId" clId="{3056F74B-79CF-4229-8BA2-4FA2B4329F51}" dt="2021-09-23T04:00:07.779" v="2542" actId="14100"/>
        <pc:sldMkLst>
          <pc:docMk/>
          <pc:sldMk cId="1795110437" sldId="2263"/>
        </pc:sldMkLst>
        <pc:spChg chg="mod">
          <ac:chgData name="Aurelien Domont" userId="6da7715ce44349b3" providerId="LiveId" clId="{3056F74B-79CF-4229-8BA2-4FA2B4329F51}" dt="2021-09-23T04:00:07.779" v="2542" actId="14100"/>
          <ac:spMkLst>
            <pc:docMk/>
            <pc:sldMk cId="1795110437" sldId="2263"/>
            <ac:spMk id="28" creationId="{123D1C09-AAA1-4965-AD42-C496C5E915FD}"/>
          </ac:spMkLst>
        </pc:spChg>
      </pc:sldChg>
      <pc:sldChg chg="add del">
        <pc:chgData name="Aurelien Domont" userId="6da7715ce44349b3" providerId="LiveId" clId="{3056F74B-79CF-4229-8BA2-4FA2B4329F51}" dt="2021-09-23T04:00:47.674" v="2544" actId="47"/>
        <pc:sldMkLst>
          <pc:docMk/>
          <pc:sldMk cId="929551194" sldId="2264"/>
        </pc:sldMkLst>
      </pc:sldChg>
      <pc:sldChg chg="addSp delSp modSp add mod">
        <pc:chgData name="Aurelien Domont" userId="6da7715ce44349b3" providerId="LiveId" clId="{3056F74B-79CF-4229-8BA2-4FA2B4329F51}" dt="2021-09-23T04:22:44.726" v="3391"/>
        <pc:sldMkLst>
          <pc:docMk/>
          <pc:sldMk cId="2826435675" sldId="2264"/>
        </pc:sldMkLst>
        <pc:spChg chg="del">
          <ac:chgData name="Aurelien Domont" userId="6da7715ce44349b3" providerId="LiveId" clId="{3056F74B-79CF-4229-8BA2-4FA2B4329F51}" dt="2021-09-23T04:05:47.928" v="2822" actId="478"/>
          <ac:spMkLst>
            <pc:docMk/>
            <pc:sldMk cId="2826435675" sldId="2264"/>
            <ac:spMk id="3" creationId="{8E0F6653-2007-45F5-9875-6823233B5335}"/>
          </ac:spMkLst>
        </pc:spChg>
        <pc:spChg chg="del">
          <ac:chgData name="Aurelien Domont" userId="6da7715ce44349b3" providerId="LiveId" clId="{3056F74B-79CF-4229-8BA2-4FA2B4329F51}" dt="2021-09-23T04:05:47.928" v="2822" actId="478"/>
          <ac:spMkLst>
            <pc:docMk/>
            <pc:sldMk cId="2826435675" sldId="2264"/>
            <ac:spMk id="8" creationId="{5CAE4651-8C94-40CD-A83B-3DDA44D1E98A}"/>
          </ac:spMkLst>
        </pc:spChg>
        <pc:spChg chg="add del mod">
          <ac:chgData name="Aurelien Domont" userId="6da7715ce44349b3" providerId="LiveId" clId="{3056F74B-79CF-4229-8BA2-4FA2B4329F51}" dt="2021-09-23T04:15:43.630" v="3152" actId="478"/>
          <ac:spMkLst>
            <pc:docMk/>
            <pc:sldMk cId="2826435675" sldId="2264"/>
            <ac:spMk id="10" creationId="{F2A78C4C-4649-4C2A-AD7F-7528F4F7F6F0}"/>
          </ac:spMkLst>
        </pc:spChg>
        <pc:spChg chg="add del mod">
          <ac:chgData name="Aurelien Domont" userId="6da7715ce44349b3" providerId="LiveId" clId="{3056F74B-79CF-4229-8BA2-4FA2B4329F51}" dt="2021-09-23T04:15:43.630" v="3152" actId="478"/>
          <ac:spMkLst>
            <pc:docMk/>
            <pc:sldMk cId="2826435675" sldId="2264"/>
            <ac:spMk id="11" creationId="{8009F738-E0FB-49AF-84A4-872AC13FD349}"/>
          </ac:spMkLst>
        </pc:spChg>
        <pc:spChg chg="add del mod">
          <ac:chgData name="Aurelien Domont" userId="6da7715ce44349b3" providerId="LiveId" clId="{3056F74B-79CF-4229-8BA2-4FA2B4329F51}" dt="2021-09-23T04:15:43.630" v="3152" actId="478"/>
          <ac:spMkLst>
            <pc:docMk/>
            <pc:sldMk cId="2826435675" sldId="2264"/>
            <ac:spMk id="12" creationId="{7483FA76-C2A2-46CB-B95D-23CC40129CBA}"/>
          </ac:spMkLst>
        </pc:spChg>
        <pc:spChg chg="mod">
          <ac:chgData name="Aurelien Domont" userId="6da7715ce44349b3" providerId="LiveId" clId="{3056F74B-79CF-4229-8BA2-4FA2B4329F51}" dt="2021-09-23T04:13:14.560" v="3028" actId="20577"/>
          <ac:spMkLst>
            <pc:docMk/>
            <pc:sldMk cId="2826435675" sldId="2264"/>
            <ac:spMk id="16" creationId="{6C2BB713-9637-4B9B-938F-E9768876782A}"/>
          </ac:spMkLst>
        </pc:spChg>
        <pc:spChg chg="add del mod">
          <ac:chgData name="Aurelien Domont" userId="6da7715ce44349b3" providerId="LiveId" clId="{3056F74B-79CF-4229-8BA2-4FA2B4329F51}" dt="2021-09-23T04:15:43.630" v="3152" actId="478"/>
          <ac:spMkLst>
            <pc:docMk/>
            <pc:sldMk cId="2826435675" sldId="2264"/>
            <ac:spMk id="17" creationId="{51179865-7C5A-4C81-92C4-DDED872555C8}"/>
          </ac:spMkLst>
        </pc:spChg>
        <pc:spChg chg="add del mod">
          <ac:chgData name="Aurelien Domont" userId="6da7715ce44349b3" providerId="LiveId" clId="{3056F74B-79CF-4229-8BA2-4FA2B4329F51}" dt="2021-09-23T04:15:43.630" v="3152" actId="478"/>
          <ac:spMkLst>
            <pc:docMk/>
            <pc:sldMk cId="2826435675" sldId="2264"/>
            <ac:spMk id="19" creationId="{6ACD38A2-B5B2-4FD3-A26B-080E79930354}"/>
          </ac:spMkLst>
        </pc:spChg>
        <pc:spChg chg="add del mod">
          <ac:chgData name="Aurelien Domont" userId="6da7715ce44349b3" providerId="LiveId" clId="{3056F74B-79CF-4229-8BA2-4FA2B4329F51}" dt="2021-09-23T04:15:43.630" v="3152" actId="478"/>
          <ac:spMkLst>
            <pc:docMk/>
            <pc:sldMk cId="2826435675" sldId="2264"/>
            <ac:spMk id="20" creationId="{156CE602-CB64-44DA-B10F-7C8BC354488A}"/>
          </ac:spMkLst>
        </pc:spChg>
        <pc:spChg chg="add del mod">
          <ac:chgData name="Aurelien Domont" userId="6da7715ce44349b3" providerId="LiveId" clId="{3056F74B-79CF-4229-8BA2-4FA2B4329F51}" dt="2021-09-23T04:15:43.630" v="3152" actId="478"/>
          <ac:spMkLst>
            <pc:docMk/>
            <pc:sldMk cId="2826435675" sldId="2264"/>
            <ac:spMk id="23" creationId="{58ABD854-86E5-4DB4-AD1F-495C9FF58FA3}"/>
          </ac:spMkLst>
        </pc:spChg>
        <pc:spChg chg="add del mod">
          <ac:chgData name="Aurelien Domont" userId="6da7715ce44349b3" providerId="LiveId" clId="{3056F74B-79CF-4229-8BA2-4FA2B4329F51}" dt="2021-09-23T04:15:43.630" v="3152" actId="478"/>
          <ac:spMkLst>
            <pc:docMk/>
            <pc:sldMk cId="2826435675" sldId="2264"/>
            <ac:spMk id="24" creationId="{B9B2BF0F-552C-4838-AB1B-7F20A98B3901}"/>
          </ac:spMkLst>
        </pc:spChg>
        <pc:spChg chg="add del mod">
          <ac:chgData name="Aurelien Domont" userId="6da7715ce44349b3" providerId="LiveId" clId="{3056F74B-79CF-4229-8BA2-4FA2B4329F51}" dt="2021-09-23T04:15:43.630" v="3152" actId="478"/>
          <ac:spMkLst>
            <pc:docMk/>
            <pc:sldMk cId="2826435675" sldId="2264"/>
            <ac:spMk id="30" creationId="{69BF88CE-7AEE-44B1-925A-30DC979DA0B4}"/>
          </ac:spMkLst>
        </pc:spChg>
        <pc:spChg chg="add del mod">
          <ac:chgData name="Aurelien Domont" userId="6da7715ce44349b3" providerId="LiveId" clId="{3056F74B-79CF-4229-8BA2-4FA2B4329F51}" dt="2021-09-23T04:15:43.630" v="3152" actId="478"/>
          <ac:spMkLst>
            <pc:docMk/>
            <pc:sldMk cId="2826435675" sldId="2264"/>
            <ac:spMk id="31" creationId="{36FD3934-CA74-467D-BB62-AB511BA8282F}"/>
          </ac:spMkLst>
        </pc:spChg>
        <pc:spChg chg="add del mod">
          <ac:chgData name="Aurelien Domont" userId="6da7715ce44349b3" providerId="LiveId" clId="{3056F74B-79CF-4229-8BA2-4FA2B4329F51}" dt="2021-09-23T04:15:43.630" v="3152" actId="478"/>
          <ac:spMkLst>
            <pc:docMk/>
            <pc:sldMk cId="2826435675" sldId="2264"/>
            <ac:spMk id="32" creationId="{82EB1123-5AEA-4795-827E-F1C13A5FCF2C}"/>
          </ac:spMkLst>
        </pc:spChg>
        <pc:spChg chg="add del mod">
          <ac:chgData name="Aurelien Domont" userId="6da7715ce44349b3" providerId="LiveId" clId="{3056F74B-79CF-4229-8BA2-4FA2B4329F51}" dt="2021-09-23T04:15:43.630" v="3152" actId="478"/>
          <ac:spMkLst>
            <pc:docMk/>
            <pc:sldMk cId="2826435675" sldId="2264"/>
            <ac:spMk id="33" creationId="{E3D180F8-06E3-4717-ABB0-1955E08E590B}"/>
          </ac:spMkLst>
        </pc:spChg>
        <pc:spChg chg="add del mod">
          <ac:chgData name="Aurelien Domont" userId="6da7715ce44349b3" providerId="LiveId" clId="{3056F74B-79CF-4229-8BA2-4FA2B4329F51}" dt="2021-09-23T04:15:43.630" v="3152" actId="478"/>
          <ac:spMkLst>
            <pc:docMk/>
            <pc:sldMk cId="2826435675" sldId="2264"/>
            <ac:spMk id="34" creationId="{52160A46-CF23-4362-BD0E-7E27ADBFFDEA}"/>
          </ac:spMkLst>
        </pc:spChg>
        <pc:spChg chg="add del mod">
          <ac:chgData name="Aurelien Domont" userId="6da7715ce44349b3" providerId="LiveId" clId="{3056F74B-79CF-4229-8BA2-4FA2B4329F51}" dt="2021-09-23T04:15:43.630" v="3152" actId="478"/>
          <ac:spMkLst>
            <pc:docMk/>
            <pc:sldMk cId="2826435675" sldId="2264"/>
            <ac:spMk id="35" creationId="{D5E039DC-354F-4019-A3DD-38AEBEE8F052}"/>
          </ac:spMkLst>
        </pc:spChg>
        <pc:spChg chg="add del mod">
          <ac:chgData name="Aurelien Domont" userId="6da7715ce44349b3" providerId="LiveId" clId="{3056F74B-79CF-4229-8BA2-4FA2B4329F51}" dt="2021-09-23T04:15:43.630" v="3152" actId="478"/>
          <ac:spMkLst>
            <pc:docMk/>
            <pc:sldMk cId="2826435675" sldId="2264"/>
            <ac:spMk id="36" creationId="{171AA2BB-9F0A-4EAD-988E-A6D0F58877FC}"/>
          </ac:spMkLst>
        </pc:spChg>
        <pc:spChg chg="add del mod">
          <ac:chgData name="Aurelien Domont" userId="6da7715ce44349b3" providerId="LiveId" clId="{3056F74B-79CF-4229-8BA2-4FA2B4329F51}" dt="2021-09-23T04:15:43.630" v="3152" actId="478"/>
          <ac:spMkLst>
            <pc:docMk/>
            <pc:sldMk cId="2826435675" sldId="2264"/>
            <ac:spMk id="37" creationId="{6B02D8C6-2470-421B-9D53-7E1CDA294BF1}"/>
          </ac:spMkLst>
        </pc:spChg>
        <pc:spChg chg="add del mod">
          <ac:chgData name="Aurelien Domont" userId="6da7715ce44349b3" providerId="LiveId" clId="{3056F74B-79CF-4229-8BA2-4FA2B4329F51}" dt="2021-09-23T04:15:43.630" v="3152" actId="478"/>
          <ac:spMkLst>
            <pc:docMk/>
            <pc:sldMk cId="2826435675" sldId="2264"/>
            <ac:spMk id="38" creationId="{6A469546-F9FB-41ED-860D-F0CC7EF54F64}"/>
          </ac:spMkLst>
        </pc:spChg>
        <pc:spChg chg="add del mod">
          <ac:chgData name="Aurelien Domont" userId="6da7715ce44349b3" providerId="LiveId" clId="{3056F74B-79CF-4229-8BA2-4FA2B4329F51}" dt="2021-09-23T04:15:43.630" v="3152" actId="478"/>
          <ac:spMkLst>
            <pc:docMk/>
            <pc:sldMk cId="2826435675" sldId="2264"/>
            <ac:spMk id="39" creationId="{F5D1400E-0DF2-43A1-BDB3-2518FF1958E8}"/>
          </ac:spMkLst>
        </pc:spChg>
        <pc:spChg chg="add del mod">
          <ac:chgData name="Aurelien Domont" userId="6da7715ce44349b3" providerId="LiveId" clId="{3056F74B-79CF-4229-8BA2-4FA2B4329F51}" dt="2021-09-23T04:15:43.630" v="3152" actId="478"/>
          <ac:spMkLst>
            <pc:docMk/>
            <pc:sldMk cId="2826435675" sldId="2264"/>
            <ac:spMk id="40" creationId="{06F9F101-AB8E-466C-9FD6-F5C607A9A5B2}"/>
          </ac:spMkLst>
        </pc:spChg>
        <pc:spChg chg="add del mod">
          <ac:chgData name="Aurelien Domont" userId="6da7715ce44349b3" providerId="LiveId" clId="{3056F74B-79CF-4229-8BA2-4FA2B4329F51}" dt="2021-09-23T04:15:43.630" v="3152" actId="478"/>
          <ac:spMkLst>
            <pc:docMk/>
            <pc:sldMk cId="2826435675" sldId="2264"/>
            <ac:spMk id="41" creationId="{93A7C2CD-0B78-47DA-8637-A556EA36BC68}"/>
          </ac:spMkLst>
        </pc:spChg>
        <pc:spChg chg="add del mod">
          <ac:chgData name="Aurelien Domont" userId="6da7715ce44349b3" providerId="LiveId" clId="{3056F74B-79CF-4229-8BA2-4FA2B4329F51}" dt="2021-09-23T04:15:43.630" v="3152" actId="478"/>
          <ac:spMkLst>
            <pc:docMk/>
            <pc:sldMk cId="2826435675" sldId="2264"/>
            <ac:spMk id="42" creationId="{13DF948D-D3EA-4DF2-AD89-EC4921F0B5B4}"/>
          </ac:spMkLst>
        </pc:spChg>
        <pc:spChg chg="add del mod">
          <ac:chgData name="Aurelien Domont" userId="6da7715ce44349b3" providerId="LiveId" clId="{3056F74B-79CF-4229-8BA2-4FA2B4329F51}" dt="2021-09-23T04:15:43.630" v="3152" actId="478"/>
          <ac:spMkLst>
            <pc:docMk/>
            <pc:sldMk cId="2826435675" sldId="2264"/>
            <ac:spMk id="43" creationId="{CDC6A29A-2995-49FA-B1E7-FA163569BCA9}"/>
          </ac:spMkLst>
        </pc:spChg>
        <pc:spChg chg="add del mod">
          <ac:chgData name="Aurelien Domont" userId="6da7715ce44349b3" providerId="LiveId" clId="{3056F74B-79CF-4229-8BA2-4FA2B4329F51}" dt="2021-09-23T04:15:43.630" v="3152" actId="478"/>
          <ac:spMkLst>
            <pc:docMk/>
            <pc:sldMk cId="2826435675" sldId="2264"/>
            <ac:spMk id="44" creationId="{6819E15D-097D-4FB3-8C93-B7C11B7C5709}"/>
          </ac:spMkLst>
        </pc:spChg>
        <pc:spChg chg="add del mod">
          <ac:chgData name="Aurelien Domont" userId="6da7715ce44349b3" providerId="LiveId" clId="{3056F74B-79CF-4229-8BA2-4FA2B4329F51}" dt="2021-09-23T04:15:43.630" v="3152" actId="478"/>
          <ac:spMkLst>
            <pc:docMk/>
            <pc:sldMk cId="2826435675" sldId="2264"/>
            <ac:spMk id="45" creationId="{5D220A28-25EC-4630-8DFB-A8FE356DB82E}"/>
          </ac:spMkLst>
        </pc:spChg>
        <pc:spChg chg="add del mod">
          <ac:chgData name="Aurelien Domont" userId="6da7715ce44349b3" providerId="LiveId" clId="{3056F74B-79CF-4229-8BA2-4FA2B4329F51}" dt="2021-09-23T04:15:43.630" v="3152" actId="478"/>
          <ac:spMkLst>
            <pc:docMk/>
            <pc:sldMk cId="2826435675" sldId="2264"/>
            <ac:spMk id="46" creationId="{55BDA8BF-7C0D-4992-A972-3845F2C610ED}"/>
          </ac:spMkLst>
        </pc:spChg>
        <pc:spChg chg="add del mod">
          <ac:chgData name="Aurelien Domont" userId="6da7715ce44349b3" providerId="LiveId" clId="{3056F74B-79CF-4229-8BA2-4FA2B4329F51}" dt="2021-09-23T04:15:43.630" v="3152" actId="478"/>
          <ac:spMkLst>
            <pc:docMk/>
            <pc:sldMk cId="2826435675" sldId="2264"/>
            <ac:spMk id="47" creationId="{57A3DBDD-CB2C-467D-B4F8-3946ED5CDA56}"/>
          </ac:spMkLst>
        </pc:spChg>
        <pc:spChg chg="add del mod">
          <ac:chgData name="Aurelien Domont" userId="6da7715ce44349b3" providerId="LiveId" clId="{3056F74B-79CF-4229-8BA2-4FA2B4329F51}" dt="2021-09-23T04:15:43.630" v="3152" actId="478"/>
          <ac:spMkLst>
            <pc:docMk/>
            <pc:sldMk cId="2826435675" sldId="2264"/>
            <ac:spMk id="48" creationId="{C3225138-83FA-4E1D-98D5-F7AD6AF73E8D}"/>
          </ac:spMkLst>
        </pc:spChg>
        <pc:spChg chg="add del mod">
          <ac:chgData name="Aurelien Domont" userId="6da7715ce44349b3" providerId="LiveId" clId="{3056F74B-79CF-4229-8BA2-4FA2B4329F51}" dt="2021-09-23T04:15:43.630" v="3152" actId="478"/>
          <ac:spMkLst>
            <pc:docMk/>
            <pc:sldMk cId="2826435675" sldId="2264"/>
            <ac:spMk id="49" creationId="{13F46A06-62C0-4F89-A1F9-A0D7FC6D6B6D}"/>
          </ac:spMkLst>
        </pc:spChg>
        <pc:spChg chg="add del mod">
          <ac:chgData name="Aurelien Domont" userId="6da7715ce44349b3" providerId="LiveId" clId="{3056F74B-79CF-4229-8BA2-4FA2B4329F51}" dt="2021-09-23T04:15:43.630" v="3152" actId="478"/>
          <ac:spMkLst>
            <pc:docMk/>
            <pc:sldMk cId="2826435675" sldId="2264"/>
            <ac:spMk id="50" creationId="{25484693-2384-4676-B4DE-FA3510A8DD71}"/>
          </ac:spMkLst>
        </pc:spChg>
        <pc:spChg chg="add del mod">
          <ac:chgData name="Aurelien Domont" userId="6da7715ce44349b3" providerId="LiveId" clId="{3056F74B-79CF-4229-8BA2-4FA2B4329F51}" dt="2021-09-23T04:15:43.630" v="3152" actId="478"/>
          <ac:spMkLst>
            <pc:docMk/>
            <pc:sldMk cId="2826435675" sldId="2264"/>
            <ac:spMk id="51" creationId="{4D839233-4D15-44D8-8D97-AEDEE5FF7E01}"/>
          </ac:spMkLst>
        </pc:spChg>
        <pc:spChg chg="add del mod">
          <ac:chgData name="Aurelien Domont" userId="6da7715ce44349b3" providerId="LiveId" clId="{3056F74B-79CF-4229-8BA2-4FA2B4329F51}" dt="2021-09-23T04:15:43.630" v="3152" actId="478"/>
          <ac:spMkLst>
            <pc:docMk/>
            <pc:sldMk cId="2826435675" sldId="2264"/>
            <ac:spMk id="52" creationId="{F2F72B9A-FE9B-4B44-8E17-6275A499CFC5}"/>
          </ac:spMkLst>
        </pc:spChg>
        <pc:spChg chg="add del mod">
          <ac:chgData name="Aurelien Domont" userId="6da7715ce44349b3" providerId="LiveId" clId="{3056F74B-79CF-4229-8BA2-4FA2B4329F51}" dt="2021-09-23T04:15:43.630" v="3152" actId="478"/>
          <ac:spMkLst>
            <pc:docMk/>
            <pc:sldMk cId="2826435675" sldId="2264"/>
            <ac:spMk id="53" creationId="{92C19C27-1556-4B83-9F97-06A6F12B6E1D}"/>
          </ac:spMkLst>
        </pc:spChg>
        <pc:spChg chg="add del mod">
          <ac:chgData name="Aurelien Domont" userId="6da7715ce44349b3" providerId="LiveId" clId="{3056F74B-79CF-4229-8BA2-4FA2B4329F51}" dt="2021-09-23T04:15:43.630" v="3152" actId="478"/>
          <ac:spMkLst>
            <pc:docMk/>
            <pc:sldMk cId="2826435675" sldId="2264"/>
            <ac:spMk id="54" creationId="{A7D9B8B8-D5D0-4B21-9F82-1C7D95FB6AF2}"/>
          </ac:spMkLst>
        </pc:spChg>
        <pc:spChg chg="add del mod">
          <ac:chgData name="Aurelien Domont" userId="6da7715ce44349b3" providerId="LiveId" clId="{3056F74B-79CF-4229-8BA2-4FA2B4329F51}" dt="2021-09-23T04:15:43.630" v="3152" actId="478"/>
          <ac:spMkLst>
            <pc:docMk/>
            <pc:sldMk cId="2826435675" sldId="2264"/>
            <ac:spMk id="55" creationId="{FEB194EE-F595-4F25-8BE7-4F236E52DA54}"/>
          </ac:spMkLst>
        </pc:spChg>
        <pc:spChg chg="add del mod">
          <ac:chgData name="Aurelien Domont" userId="6da7715ce44349b3" providerId="LiveId" clId="{3056F74B-79CF-4229-8BA2-4FA2B4329F51}" dt="2021-09-23T04:15:43.630" v="3152" actId="478"/>
          <ac:spMkLst>
            <pc:docMk/>
            <pc:sldMk cId="2826435675" sldId="2264"/>
            <ac:spMk id="56" creationId="{DB175B14-CEC4-4057-B9DD-0E014EDA2827}"/>
          </ac:spMkLst>
        </pc:spChg>
        <pc:spChg chg="add del mod">
          <ac:chgData name="Aurelien Domont" userId="6da7715ce44349b3" providerId="LiveId" clId="{3056F74B-79CF-4229-8BA2-4FA2B4329F51}" dt="2021-09-23T04:15:43.630" v="3152" actId="478"/>
          <ac:spMkLst>
            <pc:docMk/>
            <pc:sldMk cId="2826435675" sldId="2264"/>
            <ac:spMk id="57" creationId="{46BE663F-DD6F-4896-B340-3ECA51D3E7C5}"/>
          </ac:spMkLst>
        </pc:spChg>
        <pc:spChg chg="add del mod">
          <ac:chgData name="Aurelien Domont" userId="6da7715ce44349b3" providerId="LiveId" clId="{3056F74B-79CF-4229-8BA2-4FA2B4329F51}" dt="2021-09-23T04:15:43.630" v="3152" actId="478"/>
          <ac:spMkLst>
            <pc:docMk/>
            <pc:sldMk cId="2826435675" sldId="2264"/>
            <ac:spMk id="58" creationId="{64CCDE5E-A606-40C9-9BF2-36C60F1E1620}"/>
          </ac:spMkLst>
        </pc:spChg>
        <pc:spChg chg="add del mod">
          <ac:chgData name="Aurelien Domont" userId="6da7715ce44349b3" providerId="LiveId" clId="{3056F74B-79CF-4229-8BA2-4FA2B4329F51}" dt="2021-09-23T04:15:43.630" v="3152" actId="478"/>
          <ac:spMkLst>
            <pc:docMk/>
            <pc:sldMk cId="2826435675" sldId="2264"/>
            <ac:spMk id="59" creationId="{53AEF009-C2C5-4E33-BE1F-BF54CE8466C9}"/>
          </ac:spMkLst>
        </pc:spChg>
        <pc:spChg chg="add mod">
          <ac:chgData name="Aurelien Domont" userId="6da7715ce44349b3" providerId="LiveId" clId="{3056F74B-79CF-4229-8BA2-4FA2B4329F51}" dt="2021-09-23T04:10:18.039" v="2950" actId="1038"/>
          <ac:spMkLst>
            <pc:docMk/>
            <pc:sldMk cId="2826435675" sldId="2264"/>
            <ac:spMk id="60" creationId="{D7FE79AC-8102-42A4-85B2-BA3C025F66A2}"/>
          </ac:spMkLst>
        </pc:spChg>
        <pc:spChg chg="add mod">
          <ac:chgData name="Aurelien Domont" userId="6da7715ce44349b3" providerId="LiveId" clId="{3056F74B-79CF-4229-8BA2-4FA2B4329F51}" dt="2021-09-23T04:10:18.039" v="2950" actId="1038"/>
          <ac:spMkLst>
            <pc:docMk/>
            <pc:sldMk cId="2826435675" sldId="2264"/>
            <ac:spMk id="61" creationId="{CFCE2A13-3281-42F0-9E3D-DCF6B6A3BA07}"/>
          </ac:spMkLst>
        </pc:spChg>
        <pc:spChg chg="add mod">
          <ac:chgData name="Aurelien Domont" userId="6da7715ce44349b3" providerId="LiveId" clId="{3056F74B-79CF-4229-8BA2-4FA2B4329F51}" dt="2021-09-23T04:10:18.039" v="2950" actId="1038"/>
          <ac:spMkLst>
            <pc:docMk/>
            <pc:sldMk cId="2826435675" sldId="2264"/>
            <ac:spMk id="62" creationId="{B24BB676-FDCB-46DE-A580-B04F9193D736}"/>
          </ac:spMkLst>
        </pc:spChg>
        <pc:spChg chg="add mod">
          <ac:chgData name="Aurelien Domont" userId="6da7715ce44349b3" providerId="LiveId" clId="{3056F74B-79CF-4229-8BA2-4FA2B4329F51}" dt="2021-09-23T04:10:18.039" v="2950" actId="1038"/>
          <ac:spMkLst>
            <pc:docMk/>
            <pc:sldMk cId="2826435675" sldId="2264"/>
            <ac:spMk id="63" creationId="{BE93EF03-424F-4C8C-8E9B-3B7101B0632F}"/>
          </ac:spMkLst>
        </pc:spChg>
        <pc:spChg chg="add mod">
          <ac:chgData name="Aurelien Domont" userId="6da7715ce44349b3" providerId="LiveId" clId="{3056F74B-79CF-4229-8BA2-4FA2B4329F51}" dt="2021-09-23T04:10:18.039" v="2950" actId="1038"/>
          <ac:spMkLst>
            <pc:docMk/>
            <pc:sldMk cId="2826435675" sldId="2264"/>
            <ac:spMk id="64" creationId="{98FCC64D-DC7C-493D-9174-F3D4AA26D031}"/>
          </ac:spMkLst>
        </pc:spChg>
        <pc:spChg chg="add mod">
          <ac:chgData name="Aurelien Domont" userId="6da7715ce44349b3" providerId="LiveId" clId="{3056F74B-79CF-4229-8BA2-4FA2B4329F51}" dt="2021-09-23T04:10:18.039" v="2950" actId="1038"/>
          <ac:spMkLst>
            <pc:docMk/>
            <pc:sldMk cId="2826435675" sldId="2264"/>
            <ac:spMk id="65" creationId="{2DF91A00-00B2-4F8A-B4CE-AFC2BBD8D28D}"/>
          </ac:spMkLst>
        </pc:spChg>
        <pc:spChg chg="add del mod">
          <ac:chgData name="Aurelien Domont" userId="6da7715ce44349b3" providerId="LiveId" clId="{3056F74B-79CF-4229-8BA2-4FA2B4329F51}" dt="2021-09-23T04:15:43.630" v="3152" actId="478"/>
          <ac:spMkLst>
            <pc:docMk/>
            <pc:sldMk cId="2826435675" sldId="2264"/>
            <ac:spMk id="69" creationId="{18BAAFA3-9AE4-4113-9AF5-348EFFB96A27}"/>
          </ac:spMkLst>
        </pc:spChg>
        <pc:spChg chg="add del mod">
          <ac:chgData name="Aurelien Domont" userId="6da7715ce44349b3" providerId="LiveId" clId="{3056F74B-79CF-4229-8BA2-4FA2B4329F51}" dt="2021-09-23T04:15:43.630" v="3152" actId="478"/>
          <ac:spMkLst>
            <pc:docMk/>
            <pc:sldMk cId="2826435675" sldId="2264"/>
            <ac:spMk id="71" creationId="{A189EF2D-1AF7-4E0F-8431-607CEDE0C71F}"/>
          </ac:spMkLst>
        </pc:spChg>
        <pc:spChg chg="add del mod">
          <ac:chgData name="Aurelien Domont" userId="6da7715ce44349b3" providerId="LiveId" clId="{3056F74B-79CF-4229-8BA2-4FA2B4329F51}" dt="2021-09-23T04:15:43.630" v="3152" actId="478"/>
          <ac:spMkLst>
            <pc:docMk/>
            <pc:sldMk cId="2826435675" sldId="2264"/>
            <ac:spMk id="72" creationId="{1F2AED8A-6201-4474-A205-9A131D3D1FF9}"/>
          </ac:spMkLst>
        </pc:spChg>
        <pc:spChg chg="add del mod">
          <ac:chgData name="Aurelien Domont" userId="6da7715ce44349b3" providerId="LiveId" clId="{3056F74B-79CF-4229-8BA2-4FA2B4329F51}" dt="2021-09-23T04:15:43.630" v="3152" actId="478"/>
          <ac:spMkLst>
            <pc:docMk/>
            <pc:sldMk cId="2826435675" sldId="2264"/>
            <ac:spMk id="73" creationId="{E82F6228-E727-487B-B64B-7DC9CD91D1F7}"/>
          </ac:spMkLst>
        </pc:spChg>
        <pc:spChg chg="add del mod">
          <ac:chgData name="Aurelien Domont" userId="6da7715ce44349b3" providerId="LiveId" clId="{3056F74B-79CF-4229-8BA2-4FA2B4329F51}" dt="2021-09-23T04:15:43.630" v="3152" actId="478"/>
          <ac:spMkLst>
            <pc:docMk/>
            <pc:sldMk cId="2826435675" sldId="2264"/>
            <ac:spMk id="74" creationId="{CE57FFB4-A3D3-4E3E-868F-BF70DC86B34E}"/>
          </ac:spMkLst>
        </pc:spChg>
        <pc:spChg chg="add del mod">
          <ac:chgData name="Aurelien Domont" userId="6da7715ce44349b3" providerId="LiveId" clId="{3056F74B-79CF-4229-8BA2-4FA2B4329F51}" dt="2021-09-23T04:15:43.630" v="3152" actId="478"/>
          <ac:spMkLst>
            <pc:docMk/>
            <pc:sldMk cId="2826435675" sldId="2264"/>
            <ac:spMk id="75" creationId="{74E7A748-C551-4D38-AA3B-3BADC253EE24}"/>
          </ac:spMkLst>
        </pc:spChg>
        <pc:spChg chg="add del mod">
          <ac:chgData name="Aurelien Domont" userId="6da7715ce44349b3" providerId="LiveId" clId="{3056F74B-79CF-4229-8BA2-4FA2B4329F51}" dt="2021-09-23T04:15:43.630" v="3152" actId="478"/>
          <ac:spMkLst>
            <pc:docMk/>
            <pc:sldMk cId="2826435675" sldId="2264"/>
            <ac:spMk id="76" creationId="{67077040-0A1D-4C0B-9A47-CBFA428254CC}"/>
          </ac:spMkLst>
        </pc:spChg>
        <pc:spChg chg="add del mod">
          <ac:chgData name="Aurelien Domont" userId="6da7715ce44349b3" providerId="LiveId" clId="{3056F74B-79CF-4229-8BA2-4FA2B4329F51}" dt="2021-09-23T04:17:24.186" v="3195" actId="478"/>
          <ac:spMkLst>
            <pc:docMk/>
            <pc:sldMk cId="2826435675" sldId="2264"/>
            <ac:spMk id="84" creationId="{934408D8-7906-4BB3-BC95-BEABBD3360B6}"/>
          </ac:spMkLst>
        </pc:spChg>
        <pc:spChg chg="add del mod">
          <ac:chgData name="Aurelien Domont" userId="6da7715ce44349b3" providerId="LiveId" clId="{3056F74B-79CF-4229-8BA2-4FA2B4329F51}" dt="2021-09-23T04:17:24.186" v="3195" actId="478"/>
          <ac:spMkLst>
            <pc:docMk/>
            <pc:sldMk cId="2826435675" sldId="2264"/>
            <ac:spMk id="85" creationId="{B48CDCD5-2451-475D-99F8-BCE13712C7BC}"/>
          </ac:spMkLst>
        </pc:spChg>
        <pc:spChg chg="add del mod">
          <ac:chgData name="Aurelien Domont" userId="6da7715ce44349b3" providerId="LiveId" clId="{3056F74B-79CF-4229-8BA2-4FA2B4329F51}" dt="2021-09-23T04:17:24.186" v="3195" actId="478"/>
          <ac:spMkLst>
            <pc:docMk/>
            <pc:sldMk cId="2826435675" sldId="2264"/>
            <ac:spMk id="86" creationId="{51598A0C-C906-4211-BB17-68206A3D6DA0}"/>
          </ac:spMkLst>
        </pc:spChg>
        <pc:spChg chg="add del mod">
          <ac:chgData name="Aurelien Domont" userId="6da7715ce44349b3" providerId="LiveId" clId="{3056F74B-79CF-4229-8BA2-4FA2B4329F51}" dt="2021-09-23T04:17:24.186" v="3195" actId="478"/>
          <ac:spMkLst>
            <pc:docMk/>
            <pc:sldMk cId="2826435675" sldId="2264"/>
            <ac:spMk id="87" creationId="{6A5A6DF1-426C-453F-A236-ADBD75472940}"/>
          </ac:spMkLst>
        </pc:spChg>
        <pc:spChg chg="add del mod">
          <ac:chgData name="Aurelien Domont" userId="6da7715ce44349b3" providerId="LiveId" clId="{3056F74B-79CF-4229-8BA2-4FA2B4329F51}" dt="2021-09-23T04:17:24.186" v="3195" actId="478"/>
          <ac:spMkLst>
            <pc:docMk/>
            <pc:sldMk cId="2826435675" sldId="2264"/>
            <ac:spMk id="88" creationId="{F2DA9709-4F58-4285-8A54-78A4248E1582}"/>
          </ac:spMkLst>
        </pc:spChg>
        <pc:spChg chg="add mod">
          <ac:chgData name="Aurelien Domont" userId="6da7715ce44349b3" providerId="LiveId" clId="{3056F74B-79CF-4229-8BA2-4FA2B4329F51}" dt="2021-09-23T04:20:09.515" v="3300" actId="1036"/>
          <ac:spMkLst>
            <pc:docMk/>
            <pc:sldMk cId="2826435675" sldId="2264"/>
            <ac:spMk id="89" creationId="{5293073A-0CB1-404E-A602-3F3B39B206FF}"/>
          </ac:spMkLst>
        </pc:spChg>
        <pc:spChg chg="add mod">
          <ac:chgData name="Aurelien Domont" userId="6da7715ce44349b3" providerId="LiveId" clId="{3056F74B-79CF-4229-8BA2-4FA2B4329F51}" dt="2021-09-23T04:20:09.515" v="3300" actId="1036"/>
          <ac:spMkLst>
            <pc:docMk/>
            <pc:sldMk cId="2826435675" sldId="2264"/>
            <ac:spMk id="90" creationId="{02B670F7-7F0D-4044-B54E-60EFA8DE668F}"/>
          </ac:spMkLst>
        </pc:spChg>
        <pc:spChg chg="add mod">
          <ac:chgData name="Aurelien Domont" userId="6da7715ce44349b3" providerId="LiveId" clId="{3056F74B-79CF-4229-8BA2-4FA2B4329F51}" dt="2021-09-23T04:20:57.745" v="3367" actId="1035"/>
          <ac:spMkLst>
            <pc:docMk/>
            <pc:sldMk cId="2826435675" sldId="2264"/>
            <ac:spMk id="96" creationId="{C6176997-2C40-4461-B178-9AF06DC7F40E}"/>
          </ac:spMkLst>
        </pc:spChg>
        <pc:spChg chg="add mod">
          <ac:chgData name="Aurelien Domont" userId="6da7715ce44349b3" providerId="LiveId" clId="{3056F74B-79CF-4229-8BA2-4FA2B4329F51}" dt="2021-09-23T04:20:57.745" v="3367" actId="1035"/>
          <ac:spMkLst>
            <pc:docMk/>
            <pc:sldMk cId="2826435675" sldId="2264"/>
            <ac:spMk id="97" creationId="{352340E1-6DBB-4431-AD46-6802F240351C}"/>
          </ac:spMkLst>
        </pc:spChg>
        <pc:spChg chg="add mod">
          <ac:chgData name="Aurelien Domont" userId="6da7715ce44349b3" providerId="LiveId" clId="{3056F74B-79CF-4229-8BA2-4FA2B4329F51}" dt="2021-09-23T04:20:57.745" v="3367" actId="1035"/>
          <ac:spMkLst>
            <pc:docMk/>
            <pc:sldMk cId="2826435675" sldId="2264"/>
            <ac:spMk id="98" creationId="{F9679BBD-0063-4328-9918-EBF953F9AB7A}"/>
          </ac:spMkLst>
        </pc:spChg>
        <pc:spChg chg="add mod">
          <ac:chgData name="Aurelien Domont" userId="6da7715ce44349b3" providerId="LiveId" clId="{3056F74B-79CF-4229-8BA2-4FA2B4329F51}" dt="2021-09-23T04:20:57.745" v="3367" actId="1035"/>
          <ac:spMkLst>
            <pc:docMk/>
            <pc:sldMk cId="2826435675" sldId="2264"/>
            <ac:spMk id="99" creationId="{2DB93F9E-B1C9-4A41-8709-419FF2D61EF5}"/>
          </ac:spMkLst>
        </pc:spChg>
        <pc:spChg chg="add mod">
          <ac:chgData name="Aurelien Domont" userId="6da7715ce44349b3" providerId="LiveId" clId="{3056F74B-79CF-4229-8BA2-4FA2B4329F51}" dt="2021-09-23T04:20:57.745" v="3367" actId="1035"/>
          <ac:spMkLst>
            <pc:docMk/>
            <pc:sldMk cId="2826435675" sldId="2264"/>
            <ac:spMk id="100" creationId="{223CD049-E8E0-4E33-884D-DE91B1F5B885}"/>
          </ac:spMkLst>
        </pc:spChg>
        <pc:spChg chg="add mod">
          <ac:chgData name="Aurelien Domont" userId="6da7715ce44349b3" providerId="LiveId" clId="{3056F74B-79CF-4229-8BA2-4FA2B4329F51}" dt="2021-09-23T04:20:57.745" v="3367" actId="1035"/>
          <ac:spMkLst>
            <pc:docMk/>
            <pc:sldMk cId="2826435675" sldId="2264"/>
            <ac:spMk id="101" creationId="{F5340496-77D2-489A-9CC9-A683CD7AEB5C}"/>
          </ac:spMkLst>
        </pc:spChg>
        <pc:spChg chg="add mod">
          <ac:chgData name="Aurelien Domont" userId="6da7715ce44349b3" providerId="LiveId" clId="{3056F74B-79CF-4229-8BA2-4FA2B4329F51}" dt="2021-09-23T04:20:57.745" v="3367" actId="1035"/>
          <ac:spMkLst>
            <pc:docMk/>
            <pc:sldMk cId="2826435675" sldId="2264"/>
            <ac:spMk id="102" creationId="{FEA49C4B-4355-421C-A290-1E1A9F96E757}"/>
          </ac:spMkLst>
        </pc:spChg>
        <pc:spChg chg="add mod">
          <ac:chgData name="Aurelien Domont" userId="6da7715ce44349b3" providerId="LiveId" clId="{3056F74B-79CF-4229-8BA2-4FA2B4329F51}" dt="2021-09-23T04:20:57.745" v="3367" actId="1035"/>
          <ac:spMkLst>
            <pc:docMk/>
            <pc:sldMk cId="2826435675" sldId="2264"/>
            <ac:spMk id="103" creationId="{5071BEF8-ADB4-47BA-9936-292982348B44}"/>
          </ac:spMkLst>
        </pc:spChg>
        <pc:spChg chg="add mod">
          <ac:chgData name="Aurelien Domont" userId="6da7715ce44349b3" providerId="LiveId" clId="{3056F74B-79CF-4229-8BA2-4FA2B4329F51}" dt="2021-09-23T04:20:57.745" v="3367" actId="1035"/>
          <ac:spMkLst>
            <pc:docMk/>
            <pc:sldMk cId="2826435675" sldId="2264"/>
            <ac:spMk id="104" creationId="{2ABE6662-C4E5-435A-9FBA-A82576213985}"/>
          </ac:spMkLst>
        </pc:spChg>
        <pc:spChg chg="add mod">
          <ac:chgData name="Aurelien Domont" userId="6da7715ce44349b3" providerId="LiveId" clId="{3056F74B-79CF-4229-8BA2-4FA2B4329F51}" dt="2021-09-23T04:20:57.745" v="3367" actId="1035"/>
          <ac:spMkLst>
            <pc:docMk/>
            <pc:sldMk cId="2826435675" sldId="2264"/>
            <ac:spMk id="105" creationId="{42787DF1-FF33-4A37-BB01-6DF7C908619A}"/>
          </ac:spMkLst>
        </pc:spChg>
        <pc:spChg chg="add mod">
          <ac:chgData name="Aurelien Domont" userId="6da7715ce44349b3" providerId="LiveId" clId="{3056F74B-79CF-4229-8BA2-4FA2B4329F51}" dt="2021-09-23T04:20:57.745" v="3367" actId="1035"/>
          <ac:spMkLst>
            <pc:docMk/>
            <pc:sldMk cId="2826435675" sldId="2264"/>
            <ac:spMk id="106" creationId="{E4572C8A-77D0-479D-B571-A8FCA205A5DE}"/>
          </ac:spMkLst>
        </pc:spChg>
        <pc:spChg chg="add mod">
          <ac:chgData name="Aurelien Domont" userId="6da7715ce44349b3" providerId="LiveId" clId="{3056F74B-79CF-4229-8BA2-4FA2B4329F51}" dt="2021-09-23T04:20:57.745" v="3367" actId="1035"/>
          <ac:spMkLst>
            <pc:docMk/>
            <pc:sldMk cId="2826435675" sldId="2264"/>
            <ac:spMk id="107" creationId="{3A1AC3E7-76BA-4201-BBA6-AFD3EC34233A}"/>
          </ac:spMkLst>
        </pc:spChg>
        <pc:spChg chg="add mod">
          <ac:chgData name="Aurelien Domont" userId="6da7715ce44349b3" providerId="LiveId" clId="{3056F74B-79CF-4229-8BA2-4FA2B4329F51}" dt="2021-09-23T04:20:57.745" v="3367" actId="1035"/>
          <ac:spMkLst>
            <pc:docMk/>
            <pc:sldMk cId="2826435675" sldId="2264"/>
            <ac:spMk id="108" creationId="{D3B3728B-1385-4E51-9BEC-BBF7223B0AEC}"/>
          </ac:spMkLst>
        </pc:spChg>
        <pc:spChg chg="add mod">
          <ac:chgData name="Aurelien Domont" userId="6da7715ce44349b3" providerId="LiveId" clId="{3056F74B-79CF-4229-8BA2-4FA2B4329F51}" dt="2021-09-23T04:20:57.745" v="3367" actId="1035"/>
          <ac:spMkLst>
            <pc:docMk/>
            <pc:sldMk cId="2826435675" sldId="2264"/>
            <ac:spMk id="109" creationId="{89EB07F8-0F20-43FF-9102-72A68DBDBFAA}"/>
          </ac:spMkLst>
        </pc:spChg>
        <pc:spChg chg="add mod">
          <ac:chgData name="Aurelien Domont" userId="6da7715ce44349b3" providerId="LiveId" clId="{3056F74B-79CF-4229-8BA2-4FA2B4329F51}" dt="2021-09-23T04:20:57.745" v="3367" actId="1035"/>
          <ac:spMkLst>
            <pc:docMk/>
            <pc:sldMk cId="2826435675" sldId="2264"/>
            <ac:spMk id="110" creationId="{2B8FC0A1-1AEE-4B61-A4FC-9668CB419C6A}"/>
          </ac:spMkLst>
        </pc:spChg>
        <pc:spChg chg="add mod">
          <ac:chgData name="Aurelien Domont" userId="6da7715ce44349b3" providerId="LiveId" clId="{3056F74B-79CF-4229-8BA2-4FA2B4329F51}" dt="2021-09-23T04:20:57.745" v="3367" actId="1035"/>
          <ac:spMkLst>
            <pc:docMk/>
            <pc:sldMk cId="2826435675" sldId="2264"/>
            <ac:spMk id="111" creationId="{8D24E98D-6ECF-4046-8BAF-FAA13A8FF0AD}"/>
          </ac:spMkLst>
        </pc:spChg>
        <pc:spChg chg="add mod">
          <ac:chgData name="Aurelien Domont" userId="6da7715ce44349b3" providerId="LiveId" clId="{3056F74B-79CF-4229-8BA2-4FA2B4329F51}" dt="2021-09-23T04:20:57.745" v="3367" actId="1035"/>
          <ac:spMkLst>
            <pc:docMk/>
            <pc:sldMk cId="2826435675" sldId="2264"/>
            <ac:spMk id="112" creationId="{98F05424-B13F-4BDB-835C-583ED534D4D4}"/>
          </ac:spMkLst>
        </pc:spChg>
        <pc:spChg chg="add mod">
          <ac:chgData name="Aurelien Domont" userId="6da7715ce44349b3" providerId="LiveId" clId="{3056F74B-79CF-4229-8BA2-4FA2B4329F51}" dt="2021-09-23T04:20:57.745" v="3367" actId="1035"/>
          <ac:spMkLst>
            <pc:docMk/>
            <pc:sldMk cId="2826435675" sldId="2264"/>
            <ac:spMk id="113" creationId="{5026139C-13A7-44CE-B088-B8A20F0DB682}"/>
          </ac:spMkLst>
        </pc:spChg>
        <pc:spChg chg="add mod">
          <ac:chgData name="Aurelien Domont" userId="6da7715ce44349b3" providerId="LiveId" clId="{3056F74B-79CF-4229-8BA2-4FA2B4329F51}" dt="2021-09-23T04:20:57.745" v="3367" actId="1035"/>
          <ac:spMkLst>
            <pc:docMk/>
            <pc:sldMk cId="2826435675" sldId="2264"/>
            <ac:spMk id="114" creationId="{B3D9AAC7-8BE5-4992-B78F-5D017C1F9202}"/>
          </ac:spMkLst>
        </pc:spChg>
        <pc:spChg chg="add mod">
          <ac:chgData name="Aurelien Domont" userId="6da7715ce44349b3" providerId="LiveId" clId="{3056F74B-79CF-4229-8BA2-4FA2B4329F51}" dt="2021-09-23T04:20:57.745" v="3367" actId="1035"/>
          <ac:spMkLst>
            <pc:docMk/>
            <pc:sldMk cId="2826435675" sldId="2264"/>
            <ac:spMk id="115" creationId="{4204758A-081B-4AE9-9257-5D7CBC03365E}"/>
          </ac:spMkLst>
        </pc:spChg>
        <pc:spChg chg="add mod">
          <ac:chgData name="Aurelien Domont" userId="6da7715ce44349b3" providerId="LiveId" clId="{3056F74B-79CF-4229-8BA2-4FA2B4329F51}" dt="2021-09-23T04:20:57.745" v="3367" actId="1035"/>
          <ac:spMkLst>
            <pc:docMk/>
            <pc:sldMk cId="2826435675" sldId="2264"/>
            <ac:spMk id="116" creationId="{AA2F3C75-5182-463C-BA75-F2C7B7BEB22F}"/>
          </ac:spMkLst>
        </pc:spChg>
        <pc:spChg chg="add mod">
          <ac:chgData name="Aurelien Domont" userId="6da7715ce44349b3" providerId="LiveId" clId="{3056F74B-79CF-4229-8BA2-4FA2B4329F51}" dt="2021-09-23T04:20:57.745" v="3367" actId="1035"/>
          <ac:spMkLst>
            <pc:docMk/>
            <pc:sldMk cId="2826435675" sldId="2264"/>
            <ac:spMk id="117" creationId="{FF1EE458-03D0-4B0E-9758-8DB61B60B3B7}"/>
          </ac:spMkLst>
        </pc:spChg>
        <pc:spChg chg="add mod">
          <ac:chgData name="Aurelien Domont" userId="6da7715ce44349b3" providerId="LiveId" clId="{3056F74B-79CF-4229-8BA2-4FA2B4329F51}" dt="2021-09-23T04:20:57.745" v="3367" actId="1035"/>
          <ac:spMkLst>
            <pc:docMk/>
            <pc:sldMk cId="2826435675" sldId="2264"/>
            <ac:spMk id="118" creationId="{528607E0-9375-4ED8-B65A-3F9BE7B1B233}"/>
          </ac:spMkLst>
        </pc:spChg>
        <pc:spChg chg="add mod">
          <ac:chgData name="Aurelien Domont" userId="6da7715ce44349b3" providerId="LiveId" clId="{3056F74B-79CF-4229-8BA2-4FA2B4329F51}" dt="2021-09-23T04:20:57.745" v="3367" actId="1035"/>
          <ac:spMkLst>
            <pc:docMk/>
            <pc:sldMk cId="2826435675" sldId="2264"/>
            <ac:spMk id="119" creationId="{E83E37CE-34FB-4D9F-8A52-D60686053F2A}"/>
          </ac:spMkLst>
        </pc:spChg>
        <pc:spChg chg="add mod">
          <ac:chgData name="Aurelien Domont" userId="6da7715ce44349b3" providerId="LiveId" clId="{3056F74B-79CF-4229-8BA2-4FA2B4329F51}" dt="2021-09-23T04:20:57.745" v="3367" actId="1035"/>
          <ac:spMkLst>
            <pc:docMk/>
            <pc:sldMk cId="2826435675" sldId="2264"/>
            <ac:spMk id="120" creationId="{1AC3F6D1-53AA-4932-8CE5-4062DC55CC05}"/>
          </ac:spMkLst>
        </pc:spChg>
        <pc:spChg chg="add mod">
          <ac:chgData name="Aurelien Domont" userId="6da7715ce44349b3" providerId="LiveId" clId="{3056F74B-79CF-4229-8BA2-4FA2B4329F51}" dt="2021-09-23T04:20:57.745" v="3367" actId="1035"/>
          <ac:spMkLst>
            <pc:docMk/>
            <pc:sldMk cId="2826435675" sldId="2264"/>
            <ac:spMk id="121" creationId="{418421F0-20E9-4344-B118-A0E261E35CB0}"/>
          </ac:spMkLst>
        </pc:spChg>
        <pc:spChg chg="add mod">
          <ac:chgData name="Aurelien Domont" userId="6da7715ce44349b3" providerId="LiveId" clId="{3056F74B-79CF-4229-8BA2-4FA2B4329F51}" dt="2021-09-23T04:20:57.745" v="3367" actId="1035"/>
          <ac:spMkLst>
            <pc:docMk/>
            <pc:sldMk cId="2826435675" sldId="2264"/>
            <ac:spMk id="122" creationId="{549B8614-70B8-42E1-8719-39E21E31475E}"/>
          </ac:spMkLst>
        </pc:spChg>
        <pc:spChg chg="add mod">
          <ac:chgData name="Aurelien Domont" userId="6da7715ce44349b3" providerId="LiveId" clId="{3056F74B-79CF-4229-8BA2-4FA2B4329F51}" dt="2021-09-23T04:20:57.745" v="3367" actId="1035"/>
          <ac:spMkLst>
            <pc:docMk/>
            <pc:sldMk cId="2826435675" sldId="2264"/>
            <ac:spMk id="123" creationId="{0172EE7A-8B95-47EE-ADE6-9950FDDDBD6D}"/>
          </ac:spMkLst>
        </pc:spChg>
        <pc:spChg chg="add mod">
          <ac:chgData name="Aurelien Domont" userId="6da7715ce44349b3" providerId="LiveId" clId="{3056F74B-79CF-4229-8BA2-4FA2B4329F51}" dt="2021-09-23T04:20:57.745" v="3367" actId="1035"/>
          <ac:spMkLst>
            <pc:docMk/>
            <pc:sldMk cId="2826435675" sldId="2264"/>
            <ac:spMk id="124" creationId="{8BC50B2F-FFD8-414B-824C-AA5DBBA53B5C}"/>
          </ac:spMkLst>
        </pc:spChg>
        <pc:spChg chg="add mod">
          <ac:chgData name="Aurelien Domont" userId="6da7715ce44349b3" providerId="LiveId" clId="{3056F74B-79CF-4229-8BA2-4FA2B4329F51}" dt="2021-09-23T04:20:57.745" v="3367" actId="1035"/>
          <ac:spMkLst>
            <pc:docMk/>
            <pc:sldMk cId="2826435675" sldId="2264"/>
            <ac:spMk id="125" creationId="{351FEB5A-210C-40B5-90B7-52DADD38FA94}"/>
          </ac:spMkLst>
        </pc:spChg>
        <pc:spChg chg="add mod ord">
          <ac:chgData name="Aurelien Domont" userId="6da7715ce44349b3" providerId="LiveId" clId="{3056F74B-79CF-4229-8BA2-4FA2B4329F51}" dt="2021-09-23T04:22:44.726" v="3391"/>
          <ac:spMkLst>
            <pc:docMk/>
            <pc:sldMk cId="2826435675" sldId="2264"/>
            <ac:spMk id="126" creationId="{62880837-2C43-40E8-9AF6-B862401777E2}"/>
          </ac:spMkLst>
        </pc:spChg>
        <pc:spChg chg="add mod ord">
          <ac:chgData name="Aurelien Domont" userId="6da7715ce44349b3" providerId="LiveId" clId="{3056F74B-79CF-4229-8BA2-4FA2B4329F51}" dt="2021-09-23T04:22:40.508" v="3390"/>
          <ac:spMkLst>
            <pc:docMk/>
            <pc:sldMk cId="2826435675" sldId="2264"/>
            <ac:spMk id="127" creationId="{9D8C6FBA-53B5-4F81-A74B-1E8F9A7484FB}"/>
          </ac:spMkLst>
        </pc:spChg>
        <pc:spChg chg="add mod ord">
          <ac:chgData name="Aurelien Domont" userId="6da7715ce44349b3" providerId="LiveId" clId="{3056F74B-79CF-4229-8BA2-4FA2B4329F51}" dt="2021-09-23T04:22:36.352" v="3389"/>
          <ac:spMkLst>
            <pc:docMk/>
            <pc:sldMk cId="2826435675" sldId="2264"/>
            <ac:spMk id="128" creationId="{71CE224F-9636-4E50-9853-22A0052BD165}"/>
          </ac:spMkLst>
        </pc:spChg>
        <pc:spChg chg="add mod ord">
          <ac:chgData name="Aurelien Domont" userId="6da7715ce44349b3" providerId="LiveId" clId="{3056F74B-79CF-4229-8BA2-4FA2B4329F51}" dt="2021-09-23T04:22:31.468" v="3388"/>
          <ac:spMkLst>
            <pc:docMk/>
            <pc:sldMk cId="2826435675" sldId="2264"/>
            <ac:spMk id="129" creationId="{706028E1-F1CE-49C0-B366-83E32F82CDC9}"/>
          </ac:spMkLst>
        </pc:spChg>
        <pc:spChg chg="add mod ord">
          <ac:chgData name="Aurelien Domont" userId="6da7715ce44349b3" providerId="LiveId" clId="{3056F74B-79CF-4229-8BA2-4FA2B4329F51}" dt="2021-09-23T04:22:26.226" v="3387"/>
          <ac:spMkLst>
            <pc:docMk/>
            <pc:sldMk cId="2826435675" sldId="2264"/>
            <ac:spMk id="130" creationId="{0176836C-62DF-4238-BF60-E3EC060D49DE}"/>
          </ac:spMkLst>
        </pc:spChg>
        <pc:spChg chg="add mod">
          <ac:chgData name="Aurelien Domont" userId="6da7715ce44349b3" providerId="LiveId" clId="{3056F74B-79CF-4229-8BA2-4FA2B4329F51}" dt="2021-09-23T04:20:57.745" v="3367" actId="1035"/>
          <ac:spMkLst>
            <pc:docMk/>
            <pc:sldMk cId="2826435675" sldId="2264"/>
            <ac:spMk id="132" creationId="{FA675A27-F6CB-4472-9130-74A850F86790}"/>
          </ac:spMkLst>
        </pc:spChg>
        <pc:spChg chg="add mod">
          <ac:chgData name="Aurelien Domont" userId="6da7715ce44349b3" providerId="LiveId" clId="{3056F74B-79CF-4229-8BA2-4FA2B4329F51}" dt="2021-09-23T04:20:57.745" v="3367" actId="1035"/>
          <ac:spMkLst>
            <pc:docMk/>
            <pc:sldMk cId="2826435675" sldId="2264"/>
            <ac:spMk id="133" creationId="{B6DB05D4-35C0-4881-B68A-A3DE2E0B5B54}"/>
          </ac:spMkLst>
        </pc:spChg>
        <pc:spChg chg="add mod">
          <ac:chgData name="Aurelien Domont" userId="6da7715ce44349b3" providerId="LiveId" clId="{3056F74B-79CF-4229-8BA2-4FA2B4329F51}" dt="2021-09-23T04:20:57.745" v="3367" actId="1035"/>
          <ac:spMkLst>
            <pc:docMk/>
            <pc:sldMk cId="2826435675" sldId="2264"/>
            <ac:spMk id="134" creationId="{811BBF82-427A-4000-AD34-45C29B4C2639}"/>
          </ac:spMkLst>
        </pc:spChg>
        <pc:spChg chg="add mod">
          <ac:chgData name="Aurelien Domont" userId="6da7715ce44349b3" providerId="LiveId" clId="{3056F74B-79CF-4229-8BA2-4FA2B4329F51}" dt="2021-09-23T04:20:57.745" v="3367" actId="1035"/>
          <ac:spMkLst>
            <pc:docMk/>
            <pc:sldMk cId="2826435675" sldId="2264"/>
            <ac:spMk id="135" creationId="{8E4A212E-6025-46C2-ACB9-622005CF58FB}"/>
          </ac:spMkLst>
        </pc:spChg>
        <pc:spChg chg="add mod">
          <ac:chgData name="Aurelien Domont" userId="6da7715ce44349b3" providerId="LiveId" clId="{3056F74B-79CF-4229-8BA2-4FA2B4329F51}" dt="2021-09-23T04:20:57.745" v="3367" actId="1035"/>
          <ac:spMkLst>
            <pc:docMk/>
            <pc:sldMk cId="2826435675" sldId="2264"/>
            <ac:spMk id="136" creationId="{BCB09BF4-05CF-4703-B02A-841C87373374}"/>
          </ac:spMkLst>
        </pc:spChg>
        <pc:spChg chg="add mod">
          <ac:chgData name="Aurelien Domont" userId="6da7715ce44349b3" providerId="LiveId" clId="{3056F74B-79CF-4229-8BA2-4FA2B4329F51}" dt="2021-09-23T04:20:57.745" v="3367" actId="1035"/>
          <ac:spMkLst>
            <pc:docMk/>
            <pc:sldMk cId="2826435675" sldId="2264"/>
            <ac:spMk id="137" creationId="{E2727E88-9C6C-4623-BBC9-E73EBCAA528A}"/>
          </ac:spMkLst>
        </pc:spChg>
        <pc:spChg chg="add del mod">
          <ac:chgData name="Aurelien Domont" userId="6da7715ce44349b3" providerId="LiveId" clId="{3056F74B-79CF-4229-8BA2-4FA2B4329F51}" dt="2021-09-23T04:21:35.899" v="3368" actId="478"/>
          <ac:spMkLst>
            <pc:docMk/>
            <pc:sldMk cId="2826435675" sldId="2264"/>
            <ac:spMk id="138" creationId="{EC4756E7-6694-452F-A7D0-F2CD62BD08BA}"/>
          </ac:spMkLst>
        </pc:spChg>
        <pc:spChg chg="add del mod ord">
          <ac:chgData name="Aurelien Domont" userId="6da7715ce44349b3" providerId="LiveId" clId="{3056F74B-79CF-4229-8BA2-4FA2B4329F51}" dt="2021-09-23T04:21:57.590" v="3381" actId="478"/>
          <ac:spMkLst>
            <pc:docMk/>
            <pc:sldMk cId="2826435675" sldId="2264"/>
            <ac:spMk id="139" creationId="{9482C3A2-68ED-4AE3-BAE3-570FB0FC2528}"/>
          </ac:spMkLst>
        </pc:spChg>
        <pc:spChg chg="add del mod ord">
          <ac:chgData name="Aurelien Domont" userId="6da7715ce44349b3" providerId="LiveId" clId="{3056F74B-79CF-4229-8BA2-4FA2B4329F51}" dt="2021-09-23T04:21:59.115" v="3382" actId="478"/>
          <ac:spMkLst>
            <pc:docMk/>
            <pc:sldMk cId="2826435675" sldId="2264"/>
            <ac:spMk id="140" creationId="{A4199E65-79E6-4050-90C6-53068BAA7CDC}"/>
          </ac:spMkLst>
        </pc:spChg>
        <pc:spChg chg="add del mod ord">
          <ac:chgData name="Aurelien Domont" userId="6da7715ce44349b3" providerId="LiveId" clId="{3056F74B-79CF-4229-8BA2-4FA2B4329F51}" dt="2021-09-23T04:21:59.776" v="3383" actId="478"/>
          <ac:spMkLst>
            <pc:docMk/>
            <pc:sldMk cId="2826435675" sldId="2264"/>
            <ac:spMk id="141" creationId="{43840736-EEDB-4E78-A14D-F6E08F6175F7}"/>
          </ac:spMkLst>
        </pc:spChg>
        <pc:spChg chg="add del mod ord">
          <ac:chgData name="Aurelien Domont" userId="6da7715ce44349b3" providerId="LiveId" clId="{3056F74B-79CF-4229-8BA2-4FA2B4329F51}" dt="2021-09-23T04:22:00.377" v="3384" actId="478"/>
          <ac:spMkLst>
            <pc:docMk/>
            <pc:sldMk cId="2826435675" sldId="2264"/>
            <ac:spMk id="142" creationId="{907018ED-BBE1-4E6A-88FA-57D06B61E9ED}"/>
          </ac:spMkLst>
        </pc:spChg>
        <pc:spChg chg="add mod ord">
          <ac:chgData name="Aurelien Domont" userId="6da7715ce44349b3" providerId="LiveId" clId="{3056F74B-79CF-4229-8BA2-4FA2B4329F51}" dt="2021-09-23T04:22:06.139" v="3386" actId="20577"/>
          <ac:spMkLst>
            <pc:docMk/>
            <pc:sldMk cId="2826435675" sldId="2264"/>
            <ac:spMk id="143" creationId="{32F0C566-7725-4726-AD23-227F464F6A3A}"/>
          </ac:spMkLst>
        </pc:spChg>
        <pc:picChg chg="del">
          <ac:chgData name="Aurelien Domont" userId="6da7715ce44349b3" providerId="LiveId" clId="{3056F74B-79CF-4229-8BA2-4FA2B4329F51}" dt="2021-09-23T04:05:47.928" v="2822" actId="478"/>
          <ac:picMkLst>
            <pc:docMk/>
            <pc:sldMk cId="2826435675" sldId="2264"/>
            <ac:picMk id="5" creationId="{65934E0F-F3B1-4A8A-B141-08390C785846}"/>
          </ac:picMkLst>
        </pc:picChg>
        <pc:picChg chg="del">
          <ac:chgData name="Aurelien Domont" userId="6da7715ce44349b3" providerId="LiveId" clId="{3056F74B-79CF-4229-8BA2-4FA2B4329F51}" dt="2021-09-23T04:05:47.928" v="2822" actId="478"/>
          <ac:picMkLst>
            <pc:docMk/>
            <pc:sldMk cId="2826435675" sldId="2264"/>
            <ac:picMk id="9" creationId="{7C7628A0-9F60-42FD-AEEC-F631367DC915}"/>
          </ac:picMkLst>
        </pc:picChg>
        <pc:cxnChg chg="add del mod">
          <ac:chgData name="Aurelien Domont" userId="6da7715ce44349b3" providerId="LiveId" clId="{3056F74B-79CF-4229-8BA2-4FA2B4329F51}" dt="2021-09-23T04:15:43.630" v="3152" actId="478"/>
          <ac:cxnSpMkLst>
            <pc:docMk/>
            <pc:sldMk cId="2826435675" sldId="2264"/>
            <ac:cxnSpMk id="14" creationId="{5FB391BF-3585-4D2A-91E6-5EEE90F2A3C1}"/>
          </ac:cxnSpMkLst>
        </pc:cxnChg>
        <pc:cxnChg chg="add del mod">
          <ac:chgData name="Aurelien Domont" userId="6da7715ce44349b3" providerId="LiveId" clId="{3056F74B-79CF-4229-8BA2-4FA2B4329F51}" dt="2021-09-23T04:15:43.630" v="3152" actId="478"/>
          <ac:cxnSpMkLst>
            <pc:docMk/>
            <pc:sldMk cId="2826435675" sldId="2264"/>
            <ac:cxnSpMk id="15" creationId="{9E670762-0A2A-489A-B92A-59DEA108DD0D}"/>
          </ac:cxnSpMkLst>
        </pc:cxnChg>
        <pc:cxnChg chg="add del mod">
          <ac:chgData name="Aurelien Domont" userId="6da7715ce44349b3" providerId="LiveId" clId="{3056F74B-79CF-4229-8BA2-4FA2B4329F51}" dt="2021-09-23T04:15:43.630" v="3152" actId="478"/>
          <ac:cxnSpMkLst>
            <pc:docMk/>
            <pc:sldMk cId="2826435675" sldId="2264"/>
            <ac:cxnSpMk id="18" creationId="{8BC9692C-8662-4DB9-A0F9-E0D7F53DFE40}"/>
          </ac:cxnSpMkLst>
        </pc:cxnChg>
        <pc:cxnChg chg="add del mod">
          <ac:chgData name="Aurelien Domont" userId="6da7715ce44349b3" providerId="LiveId" clId="{3056F74B-79CF-4229-8BA2-4FA2B4329F51}" dt="2021-09-23T04:15:43.630" v="3152" actId="478"/>
          <ac:cxnSpMkLst>
            <pc:docMk/>
            <pc:sldMk cId="2826435675" sldId="2264"/>
            <ac:cxnSpMk id="21" creationId="{EEC935B9-170A-44C6-B812-D33C827342F5}"/>
          </ac:cxnSpMkLst>
        </pc:cxnChg>
        <pc:cxnChg chg="add del mod">
          <ac:chgData name="Aurelien Domont" userId="6da7715ce44349b3" providerId="LiveId" clId="{3056F74B-79CF-4229-8BA2-4FA2B4329F51}" dt="2021-09-23T04:15:43.630" v="3152" actId="478"/>
          <ac:cxnSpMkLst>
            <pc:docMk/>
            <pc:sldMk cId="2826435675" sldId="2264"/>
            <ac:cxnSpMk id="22" creationId="{10554F60-590B-4868-A20E-75C801B5BC1F}"/>
          </ac:cxnSpMkLst>
        </pc:cxnChg>
        <pc:cxnChg chg="add del mod">
          <ac:chgData name="Aurelien Domont" userId="6da7715ce44349b3" providerId="LiveId" clId="{3056F74B-79CF-4229-8BA2-4FA2B4329F51}" dt="2021-09-23T04:15:43.630" v="3152" actId="478"/>
          <ac:cxnSpMkLst>
            <pc:docMk/>
            <pc:sldMk cId="2826435675" sldId="2264"/>
            <ac:cxnSpMk id="25" creationId="{6D61DAB2-7548-4E9C-811C-042AF0B2C89B}"/>
          </ac:cxnSpMkLst>
        </pc:cxnChg>
        <pc:cxnChg chg="add del mod">
          <ac:chgData name="Aurelien Domont" userId="6da7715ce44349b3" providerId="LiveId" clId="{3056F74B-79CF-4229-8BA2-4FA2B4329F51}" dt="2021-09-23T04:15:43.630" v="3152" actId="478"/>
          <ac:cxnSpMkLst>
            <pc:docMk/>
            <pc:sldMk cId="2826435675" sldId="2264"/>
            <ac:cxnSpMk id="26" creationId="{278E90F9-6FBB-49EE-9668-A5C7A26DA94D}"/>
          </ac:cxnSpMkLst>
        </pc:cxnChg>
        <pc:cxnChg chg="add del mod">
          <ac:chgData name="Aurelien Domont" userId="6da7715ce44349b3" providerId="LiveId" clId="{3056F74B-79CF-4229-8BA2-4FA2B4329F51}" dt="2021-09-23T04:15:43.630" v="3152" actId="478"/>
          <ac:cxnSpMkLst>
            <pc:docMk/>
            <pc:sldMk cId="2826435675" sldId="2264"/>
            <ac:cxnSpMk id="27" creationId="{2F023CE0-04F9-4B42-AAE6-9E6D7F0710BA}"/>
          </ac:cxnSpMkLst>
        </pc:cxnChg>
        <pc:cxnChg chg="add del mod">
          <ac:chgData name="Aurelien Domont" userId="6da7715ce44349b3" providerId="LiveId" clId="{3056F74B-79CF-4229-8BA2-4FA2B4329F51}" dt="2021-09-23T04:15:43.630" v="3152" actId="478"/>
          <ac:cxnSpMkLst>
            <pc:docMk/>
            <pc:sldMk cId="2826435675" sldId="2264"/>
            <ac:cxnSpMk id="28" creationId="{A925B8E8-8F96-4C08-A76A-9FA8A981C2D1}"/>
          </ac:cxnSpMkLst>
        </pc:cxnChg>
        <pc:cxnChg chg="add del mod">
          <ac:chgData name="Aurelien Domont" userId="6da7715ce44349b3" providerId="LiveId" clId="{3056F74B-79CF-4229-8BA2-4FA2B4329F51}" dt="2021-09-23T04:15:43.630" v="3152" actId="478"/>
          <ac:cxnSpMkLst>
            <pc:docMk/>
            <pc:sldMk cId="2826435675" sldId="2264"/>
            <ac:cxnSpMk id="29" creationId="{E9DCF84A-706F-49C9-B8C7-F60634711873}"/>
          </ac:cxnSpMkLst>
        </pc:cxnChg>
        <pc:cxnChg chg="add del mod">
          <ac:chgData name="Aurelien Domont" userId="6da7715ce44349b3" providerId="LiveId" clId="{3056F74B-79CF-4229-8BA2-4FA2B4329F51}" dt="2021-09-23T04:15:43.630" v="3152" actId="478"/>
          <ac:cxnSpMkLst>
            <pc:docMk/>
            <pc:sldMk cId="2826435675" sldId="2264"/>
            <ac:cxnSpMk id="70" creationId="{0A8778D5-634A-4E09-89AE-F7C9929510CB}"/>
          </ac:cxnSpMkLst>
        </pc:cxnChg>
        <pc:cxnChg chg="add del mod">
          <ac:chgData name="Aurelien Domont" userId="6da7715ce44349b3" providerId="LiveId" clId="{3056F74B-79CF-4229-8BA2-4FA2B4329F51}" dt="2021-09-23T04:15:43.630" v="3152" actId="478"/>
          <ac:cxnSpMkLst>
            <pc:docMk/>
            <pc:sldMk cId="2826435675" sldId="2264"/>
            <ac:cxnSpMk id="83" creationId="{92014D90-B49B-482D-A3C4-90A2ECFC0069}"/>
          </ac:cxnSpMkLst>
        </pc:cxnChg>
        <pc:cxnChg chg="add mod">
          <ac:chgData name="Aurelien Domont" userId="6da7715ce44349b3" providerId="LiveId" clId="{3056F74B-79CF-4229-8BA2-4FA2B4329F51}" dt="2021-09-23T04:20:57.745" v="3367" actId="1035"/>
          <ac:cxnSpMkLst>
            <pc:docMk/>
            <pc:sldMk cId="2826435675" sldId="2264"/>
            <ac:cxnSpMk id="91" creationId="{C6B2FD17-5152-440D-9263-CDF1F0DF1963}"/>
          </ac:cxnSpMkLst>
        </pc:cxnChg>
        <pc:cxnChg chg="add mod">
          <ac:chgData name="Aurelien Domont" userId="6da7715ce44349b3" providerId="LiveId" clId="{3056F74B-79CF-4229-8BA2-4FA2B4329F51}" dt="2021-09-23T04:20:57.745" v="3367" actId="1035"/>
          <ac:cxnSpMkLst>
            <pc:docMk/>
            <pc:sldMk cId="2826435675" sldId="2264"/>
            <ac:cxnSpMk id="92" creationId="{D8834B92-3834-41F6-AE53-ADBD2438017C}"/>
          </ac:cxnSpMkLst>
        </pc:cxnChg>
        <pc:cxnChg chg="add mod">
          <ac:chgData name="Aurelien Domont" userId="6da7715ce44349b3" providerId="LiveId" clId="{3056F74B-79CF-4229-8BA2-4FA2B4329F51}" dt="2021-09-23T04:20:57.745" v="3367" actId="1035"/>
          <ac:cxnSpMkLst>
            <pc:docMk/>
            <pc:sldMk cId="2826435675" sldId="2264"/>
            <ac:cxnSpMk id="93" creationId="{D64383E5-7894-4068-B541-9FBE2E3C1901}"/>
          </ac:cxnSpMkLst>
        </pc:cxnChg>
        <pc:cxnChg chg="add mod">
          <ac:chgData name="Aurelien Domont" userId="6da7715ce44349b3" providerId="LiveId" clId="{3056F74B-79CF-4229-8BA2-4FA2B4329F51}" dt="2021-09-23T04:20:57.745" v="3367" actId="1035"/>
          <ac:cxnSpMkLst>
            <pc:docMk/>
            <pc:sldMk cId="2826435675" sldId="2264"/>
            <ac:cxnSpMk id="94" creationId="{303D6ABA-D966-49AC-86D8-C36DDE18981F}"/>
          </ac:cxnSpMkLst>
        </pc:cxnChg>
        <pc:cxnChg chg="add mod">
          <ac:chgData name="Aurelien Domont" userId="6da7715ce44349b3" providerId="LiveId" clId="{3056F74B-79CF-4229-8BA2-4FA2B4329F51}" dt="2021-09-23T04:20:57.745" v="3367" actId="1035"/>
          <ac:cxnSpMkLst>
            <pc:docMk/>
            <pc:sldMk cId="2826435675" sldId="2264"/>
            <ac:cxnSpMk id="95" creationId="{6690E34B-0B6B-4989-AF85-209849AF3AEA}"/>
          </ac:cxnSpMkLst>
        </pc:cxnChg>
        <pc:cxnChg chg="add mod">
          <ac:chgData name="Aurelien Domont" userId="6da7715ce44349b3" providerId="LiveId" clId="{3056F74B-79CF-4229-8BA2-4FA2B4329F51}" dt="2021-09-23T04:20:57.745" v="3367" actId="1035"/>
          <ac:cxnSpMkLst>
            <pc:docMk/>
            <pc:sldMk cId="2826435675" sldId="2264"/>
            <ac:cxnSpMk id="131" creationId="{9AB62E3C-1F85-4163-80A0-39F04C13B8AA}"/>
          </ac:cxnSpMkLst>
        </pc:cxnChg>
      </pc:sldChg>
      <pc:sldChg chg="addSp delSp modSp add del mod ord">
        <pc:chgData name="Aurelien Domont" userId="6da7715ce44349b3" providerId="LiveId" clId="{3056F74B-79CF-4229-8BA2-4FA2B4329F51}" dt="2021-09-23T04:23:41.694" v="3411" actId="47"/>
        <pc:sldMkLst>
          <pc:docMk/>
          <pc:sldMk cId="2287950184" sldId="2265"/>
        </pc:sldMkLst>
        <pc:spChg chg="del">
          <ac:chgData name="Aurelien Domont" userId="6da7715ce44349b3" providerId="LiveId" clId="{3056F74B-79CF-4229-8BA2-4FA2B4329F51}" dt="2021-09-23T04:15:31.615" v="3150" actId="478"/>
          <ac:spMkLst>
            <pc:docMk/>
            <pc:sldMk cId="2287950184" sldId="2265"/>
            <ac:spMk id="10" creationId="{F2A78C4C-4649-4C2A-AD7F-7528F4F7F6F0}"/>
          </ac:spMkLst>
        </pc:spChg>
        <pc:spChg chg="mod">
          <ac:chgData name="Aurelien Domont" userId="6da7715ce44349b3" providerId="LiveId" clId="{3056F74B-79CF-4229-8BA2-4FA2B4329F51}" dt="2021-09-23T04:18:43.862" v="3262" actId="465"/>
          <ac:spMkLst>
            <pc:docMk/>
            <pc:sldMk cId="2287950184" sldId="2265"/>
            <ac:spMk id="11" creationId="{8009F738-E0FB-49AF-84A4-872AC13FD349}"/>
          </ac:spMkLst>
        </pc:spChg>
        <pc:spChg chg="mod">
          <ac:chgData name="Aurelien Domont" userId="6da7715ce44349b3" providerId="LiveId" clId="{3056F74B-79CF-4229-8BA2-4FA2B4329F51}" dt="2021-09-23T04:18:43.862" v="3262" actId="465"/>
          <ac:spMkLst>
            <pc:docMk/>
            <pc:sldMk cId="2287950184" sldId="2265"/>
            <ac:spMk id="12" creationId="{7483FA76-C2A2-46CB-B95D-23CC40129CBA}"/>
          </ac:spMkLst>
        </pc:spChg>
        <pc:spChg chg="mod">
          <ac:chgData name="Aurelien Domont" userId="6da7715ce44349b3" providerId="LiveId" clId="{3056F74B-79CF-4229-8BA2-4FA2B4329F51}" dt="2021-09-23T04:23:17.972" v="3406" actId="20577"/>
          <ac:spMkLst>
            <pc:docMk/>
            <pc:sldMk cId="2287950184" sldId="2265"/>
            <ac:spMk id="16" creationId="{6C2BB713-9637-4B9B-938F-E9768876782A}"/>
          </ac:spMkLst>
        </pc:spChg>
        <pc:spChg chg="mod">
          <ac:chgData name="Aurelien Domont" userId="6da7715ce44349b3" providerId="LiveId" clId="{3056F74B-79CF-4229-8BA2-4FA2B4329F51}" dt="2021-09-23T04:18:39.527" v="3261" actId="553"/>
          <ac:spMkLst>
            <pc:docMk/>
            <pc:sldMk cId="2287950184" sldId="2265"/>
            <ac:spMk id="17" creationId="{51179865-7C5A-4C81-92C4-DDED872555C8}"/>
          </ac:spMkLst>
        </pc:spChg>
        <pc:spChg chg="mod">
          <ac:chgData name="Aurelien Domont" userId="6da7715ce44349b3" providerId="LiveId" clId="{3056F74B-79CF-4229-8BA2-4FA2B4329F51}" dt="2021-09-23T04:18:43.862" v="3262" actId="465"/>
          <ac:spMkLst>
            <pc:docMk/>
            <pc:sldMk cId="2287950184" sldId="2265"/>
            <ac:spMk id="19" creationId="{6ACD38A2-B5B2-4FD3-A26B-080E79930354}"/>
          </ac:spMkLst>
        </pc:spChg>
        <pc:spChg chg="mod">
          <ac:chgData name="Aurelien Domont" userId="6da7715ce44349b3" providerId="LiveId" clId="{3056F74B-79CF-4229-8BA2-4FA2B4329F51}" dt="2021-09-23T04:23:34.713" v="3410"/>
          <ac:spMkLst>
            <pc:docMk/>
            <pc:sldMk cId="2287950184" sldId="2265"/>
            <ac:spMk id="20" creationId="{156CE602-CB64-44DA-B10F-7C8BC354488A}"/>
          </ac:spMkLst>
        </pc:spChg>
        <pc:spChg chg="mod">
          <ac:chgData name="Aurelien Domont" userId="6da7715ce44349b3" providerId="LiveId" clId="{3056F74B-79CF-4229-8BA2-4FA2B4329F51}" dt="2021-09-23T04:15:37.462" v="3151" actId="1076"/>
          <ac:spMkLst>
            <pc:docMk/>
            <pc:sldMk cId="2287950184" sldId="2265"/>
            <ac:spMk id="23" creationId="{58ABD854-86E5-4DB4-AD1F-495C9FF58FA3}"/>
          </ac:spMkLst>
        </pc:spChg>
        <pc:spChg chg="mod">
          <ac:chgData name="Aurelien Domont" userId="6da7715ce44349b3" providerId="LiveId" clId="{3056F74B-79CF-4229-8BA2-4FA2B4329F51}" dt="2021-09-23T04:15:37.462" v="3151" actId="1076"/>
          <ac:spMkLst>
            <pc:docMk/>
            <pc:sldMk cId="2287950184" sldId="2265"/>
            <ac:spMk id="24" creationId="{B9B2BF0F-552C-4838-AB1B-7F20A98B3901}"/>
          </ac:spMkLst>
        </pc:spChg>
        <pc:spChg chg="mod">
          <ac:chgData name="Aurelien Domont" userId="6da7715ce44349b3" providerId="LiveId" clId="{3056F74B-79CF-4229-8BA2-4FA2B4329F51}" dt="2021-09-23T04:15:37.462" v="3151" actId="1076"/>
          <ac:spMkLst>
            <pc:docMk/>
            <pc:sldMk cId="2287950184" sldId="2265"/>
            <ac:spMk id="30" creationId="{69BF88CE-7AEE-44B1-925A-30DC979DA0B4}"/>
          </ac:spMkLst>
        </pc:spChg>
        <pc:spChg chg="mod">
          <ac:chgData name="Aurelien Domont" userId="6da7715ce44349b3" providerId="LiveId" clId="{3056F74B-79CF-4229-8BA2-4FA2B4329F51}" dt="2021-09-23T04:15:37.462" v="3151" actId="1076"/>
          <ac:spMkLst>
            <pc:docMk/>
            <pc:sldMk cId="2287950184" sldId="2265"/>
            <ac:spMk id="31" creationId="{36FD3934-CA74-467D-BB62-AB511BA8282F}"/>
          </ac:spMkLst>
        </pc:spChg>
        <pc:spChg chg="mod">
          <ac:chgData name="Aurelien Domont" userId="6da7715ce44349b3" providerId="LiveId" clId="{3056F74B-79CF-4229-8BA2-4FA2B4329F51}" dt="2021-09-23T04:15:37.462" v="3151" actId="1076"/>
          <ac:spMkLst>
            <pc:docMk/>
            <pc:sldMk cId="2287950184" sldId="2265"/>
            <ac:spMk id="32" creationId="{82EB1123-5AEA-4795-827E-F1C13A5FCF2C}"/>
          </ac:spMkLst>
        </pc:spChg>
        <pc:spChg chg="mod">
          <ac:chgData name="Aurelien Domont" userId="6da7715ce44349b3" providerId="LiveId" clId="{3056F74B-79CF-4229-8BA2-4FA2B4329F51}" dt="2021-09-23T04:15:37.462" v="3151" actId="1076"/>
          <ac:spMkLst>
            <pc:docMk/>
            <pc:sldMk cId="2287950184" sldId="2265"/>
            <ac:spMk id="33" creationId="{E3D180F8-06E3-4717-ABB0-1955E08E590B}"/>
          </ac:spMkLst>
        </pc:spChg>
        <pc:spChg chg="mod">
          <ac:chgData name="Aurelien Domont" userId="6da7715ce44349b3" providerId="LiveId" clId="{3056F74B-79CF-4229-8BA2-4FA2B4329F51}" dt="2021-09-23T04:15:37.462" v="3151" actId="1076"/>
          <ac:spMkLst>
            <pc:docMk/>
            <pc:sldMk cId="2287950184" sldId="2265"/>
            <ac:spMk id="34" creationId="{52160A46-CF23-4362-BD0E-7E27ADBFFDEA}"/>
          </ac:spMkLst>
        </pc:spChg>
        <pc:spChg chg="mod">
          <ac:chgData name="Aurelien Domont" userId="6da7715ce44349b3" providerId="LiveId" clId="{3056F74B-79CF-4229-8BA2-4FA2B4329F51}" dt="2021-09-23T04:15:37.462" v="3151" actId="1076"/>
          <ac:spMkLst>
            <pc:docMk/>
            <pc:sldMk cId="2287950184" sldId="2265"/>
            <ac:spMk id="35" creationId="{D5E039DC-354F-4019-A3DD-38AEBEE8F052}"/>
          </ac:spMkLst>
        </pc:spChg>
        <pc:spChg chg="mod">
          <ac:chgData name="Aurelien Domont" userId="6da7715ce44349b3" providerId="LiveId" clId="{3056F74B-79CF-4229-8BA2-4FA2B4329F51}" dt="2021-09-23T04:15:37.462" v="3151" actId="1076"/>
          <ac:spMkLst>
            <pc:docMk/>
            <pc:sldMk cId="2287950184" sldId="2265"/>
            <ac:spMk id="36" creationId="{171AA2BB-9F0A-4EAD-988E-A6D0F58877FC}"/>
          </ac:spMkLst>
        </pc:spChg>
        <pc:spChg chg="mod">
          <ac:chgData name="Aurelien Domont" userId="6da7715ce44349b3" providerId="LiveId" clId="{3056F74B-79CF-4229-8BA2-4FA2B4329F51}" dt="2021-09-23T04:15:37.462" v="3151" actId="1076"/>
          <ac:spMkLst>
            <pc:docMk/>
            <pc:sldMk cId="2287950184" sldId="2265"/>
            <ac:spMk id="37" creationId="{6B02D8C6-2470-421B-9D53-7E1CDA294BF1}"/>
          </ac:spMkLst>
        </pc:spChg>
        <pc:spChg chg="mod">
          <ac:chgData name="Aurelien Domont" userId="6da7715ce44349b3" providerId="LiveId" clId="{3056F74B-79CF-4229-8BA2-4FA2B4329F51}" dt="2021-09-23T04:15:37.462" v="3151" actId="1076"/>
          <ac:spMkLst>
            <pc:docMk/>
            <pc:sldMk cId="2287950184" sldId="2265"/>
            <ac:spMk id="38" creationId="{6A469546-F9FB-41ED-860D-F0CC7EF54F64}"/>
          </ac:spMkLst>
        </pc:spChg>
        <pc:spChg chg="mod">
          <ac:chgData name="Aurelien Domont" userId="6da7715ce44349b3" providerId="LiveId" clId="{3056F74B-79CF-4229-8BA2-4FA2B4329F51}" dt="2021-09-23T04:15:37.462" v="3151" actId="1076"/>
          <ac:spMkLst>
            <pc:docMk/>
            <pc:sldMk cId="2287950184" sldId="2265"/>
            <ac:spMk id="39" creationId="{F5D1400E-0DF2-43A1-BDB3-2518FF1958E8}"/>
          </ac:spMkLst>
        </pc:spChg>
        <pc:spChg chg="mod">
          <ac:chgData name="Aurelien Domont" userId="6da7715ce44349b3" providerId="LiveId" clId="{3056F74B-79CF-4229-8BA2-4FA2B4329F51}" dt="2021-09-23T04:15:37.462" v="3151" actId="1076"/>
          <ac:spMkLst>
            <pc:docMk/>
            <pc:sldMk cId="2287950184" sldId="2265"/>
            <ac:spMk id="40" creationId="{06F9F101-AB8E-466C-9FD6-F5C607A9A5B2}"/>
          </ac:spMkLst>
        </pc:spChg>
        <pc:spChg chg="mod">
          <ac:chgData name="Aurelien Domont" userId="6da7715ce44349b3" providerId="LiveId" clId="{3056F74B-79CF-4229-8BA2-4FA2B4329F51}" dt="2021-09-23T04:15:37.462" v="3151" actId="1076"/>
          <ac:spMkLst>
            <pc:docMk/>
            <pc:sldMk cId="2287950184" sldId="2265"/>
            <ac:spMk id="41" creationId="{93A7C2CD-0B78-47DA-8637-A556EA36BC68}"/>
          </ac:spMkLst>
        </pc:spChg>
        <pc:spChg chg="mod">
          <ac:chgData name="Aurelien Domont" userId="6da7715ce44349b3" providerId="LiveId" clId="{3056F74B-79CF-4229-8BA2-4FA2B4329F51}" dt="2021-09-23T04:15:37.462" v="3151" actId="1076"/>
          <ac:spMkLst>
            <pc:docMk/>
            <pc:sldMk cId="2287950184" sldId="2265"/>
            <ac:spMk id="42" creationId="{13DF948D-D3EA-4DF2-AD89-EC4921F0B5B4}"/>
          </ac:spMkLst>
        </pc:spChg>
        <pc:spChg chg="mod">
          <ac:chgData name="Aurelien Domont" userId="6da7715ce44349b3" providerId="LiveId" clId="{3056F74B-79CF-4229-8BA2-4FA2B4329F51}" dt="2021-09-23T04:15:37.462" v="3151" actId="1076"/>
          <ac:spMkLst>
            <pc:docMk/>
            <pc:sldMk cId="2287950184" sldId="2265"/>
            <ac:spMk id="43" creationId="{CDC6A29A-2995-49FA-B1E7-FA163569BCA9}"/>
          </ac:spMkLst>
        </pc:spChg>
        <pc:spChg chg="mod">
          <ac:chgData name="Aurelien Domont" userId="6da7715ce44349b3" providerId="LiveId" clId="{3056F74B-79CF-4229-8BA2-4FA2B4329F51}" dt="2021-09-23T04:15:37.462" v="3151" actId="1076"/>
          <ac:spMkLst>
            <pc:docMk/>
            <pc:sldMk cId="2287950184" sldId="2265"/>
            <ac:spMk id="44" creationId="{6819E15D-097D-4FB3-8C93-B7C11B7C5709}"/>
          </ac:spMkLst>
        </pc:spChg>
        <pc:spChg chg="mod">
          <ac:chgData name="Aurelien Domont" userId="6da7715ce44349b3" providerId="LiveId" clId="{3056F74B-79CF-4229-8BA2-4FA2B4329F51}" dt="2021-09-23T04:15:37.462" v="3151" actId="1076"/>
          <ac:spMkLst>
            <pc:docMk/>
            <pc:sldMk cId="2287950184" sldId="2265"/>
            <ac:spMk id="45" creationId="{5D220A28-25EC-4630-8DFB-A8FE356DB82E}"/>
          </ac:spMkLst>
        </pc:spChg>
        <pc:spChg chg="mod">
          <ac:chgData name="Aurelien Domont" userId="6da7715ce44349b3" providerId="LiveId" clId="{3056F74B-79CF-4229-8BA2-4FA2B4329F51}" dt="2021-09-23T04:15:37.462" v="3151" actId="1076"/>
          <ac:spMkLst>
            <pc:docMk/>
            <pc:sldMk cId="2287950184" sldId="2265"/>
            <ac:spMk id="46" creationId="{55BDA8BF-7C0D-4992-A972-3845F2C610ED}"/>
          </ac:spMkLst>
        </pc:spChg>
        <pc:spChg chg="mod">
          <ac:chgData name="Aurelien Domont" userId="6da7715ce44349b3" providerId="LiveId" clId="{3056F74B-79CF-4229-8BA2-4FA2B4329F51}" dt="2021-09-23T04:15:37.462" v="3151" actId="1076"/>
          <ac:spMkLst>
            <pc:docMk/>
            <pc:sldMk cId="2287950184" sldId="2265"/>
            <ac:spMk id="47" creationId="{57A3DBDD-CB2C-467D-B4F8-3946ED5CDA56}"/>
          </ac:spMkLst>
        </pc:spChg>
        <pc:spChg chg="mod">
          <ac:chgData name="Aurelien Domont" userId="6da7715ce44349b3" providerId="LiveId" clId="{3056F74B-79CF-4229-8BA2-4FA2B4329F51}" dt="2021-09-23T04:15:37.462" v="3151" actId="1076"/>
          <ac:spMkLst>
            <pc:docMk/>
            <pc:sldMk cId="2287950184" sldId="2265"/>
            <ac:spMk id="48" creationId="{C3225138-83FA-4E1D-98D5-F7AD6AF73E8D}"/>
          </ac:spMkLst>
        </pc:spChg>
        <pc:spChg chg="mod">
          <ac:chgData name="Aurelien Domont" userId="6da7715ce44349b3" providerId="LiveId" clId="{3056F74B-79CF-4229-8BA2-4FA2B4329F51}" dt="2021-09-23T04:15:37.462" v="3151" actId="1076"/>
          <ac:spMkLst>
            <pc:docMk/>
            <pc:sldMk cId="2287950184" sldId="2265"/>
            <ac:spMk id="49" creationId="{13F46A06-62C0-4F89-A1F9-A0D7FC6D6B6D}"/>
          </ac:spMkLst>
        </pc:spChg>
        <pc:spChg chg="mod">
          <ac:chgData name="Aurelien Domont" userId="6da7715ce44349b3" providerId="LiveId" clId="{3056F74B-79CF-4229-8BA2-4FA2B4329F51}" dt="2021-09-23T04:15:37.462" v="3151" actId="1076"/>
          <ac:spMkLst>
            <pc:docMk/>
            <pc:sldMk cId="2287950184" sldId="2265"/>
            <ac:spMk id="50" creationId="{25484693-2384-4676-B4DE-FA3510A8DD71}"/>
          </ac:spMkLst>
        </pc:spChg>
        <pc:spChg chg="mod">
          <ac:chgData name="Aurelien Domont" userId="6da7715ce44349b3" providerId="LiveId" clId="{3056F74B-79CF-4229-8BA2-4FA2B4329F51}" dt="2021-09-23T04:15:37.462" v="3151" actId="1076"/>
          <ac:spMkLst>
            <pc:docMk/>
            <pc:sldMk cId="2287950184" sldId="2265"/>
            <ac:spMk id="51" creationId="{4D839233-4D15-44D8-8D97-AEDEE5FF7E01}"/>
          </ac:spMkLst>
        </pc:spChg>
        <pc:spChg chg="mod">
          <ac:chgData name="Aurelien Domont" userId="6da7715ce44349b3" providerId="LiveId" clId="{3056F74B-79CF-4229-8BA2-4FA2B4329F51}" dt="2021-09-23T04:15:37.462" v="3151" actId="1076"/>
          <ac:spMkLst>
            <pc:docMk/>
            <pc:sldMk cId="2287950184" sldId="2265"/>
            <ac:spMk id="52" creationId="{F2F72B9A-FE9B-4B44-8E17-6275A499CFC5}"/>
          </ac:spMkLst>
        </pc:spChg>
        <pc:spChg chg="mod">
          <ac:chgData name="Aurelien Domont" userId="6da7715ce44349b3" providerId="LiveId" clId="{3056F74B-79CF-4229-8BA2-4FA2B4329F51}" dt="2021-09-23T04:15:37.462" v="3151" actId="1076"/>
          <ac:spMkLst>
            <pc:docMk/>
            <pc:sldMk cId="2287950184" sldId="2265"/>
            <ac:spMk id="53" creationId="{92C19C27-1556-4B83-9F97-06A6F12B6E1D}"/>
          </ac:spMkLst>
        </pc:spChg>
        <pc:spChg chg="mod">
          <ac:chgData name="Aurelien Domont" userId="6da7715ce44349b3" providerId="LiveId" clId="{3056F74B-79CF-4229-8BA2-4FA2B4329F51}" dt="2021-09-23T04:15:37.462" v="3151" actId="1076"/>
          <ac:spMkLst>
            <pc:docMk/>
            <pc:sldMk cId="2287950184" sldId="2265"/>
            <ac:spMk id="54" creationId="{A7D9B8B8-D5D0-4B21-9F82-1C7D95FB6AF2}"/>
          </ac:spMkLst>
        </pc:spChg>
        <pc:spChg chg="mod">
          <ac:chgData name="Aurelien Domont" userId="6da7715ce44349b3" providerId="LiveId" clId="{3056F74B-79CF-4229-8BA2-4FA2B4329F51}" dt="2021-09-23T04:15:37.462" v="3151" actId="1076"/>
          <ac:spMkLst>
            <pc:docMk/>
            <pc:sldMk cId="2287950184" sldId="2265"/>
            <ac:spMk id="55" creationId="{FEB194EE-F595-4F25-8BE7-4F236E52DA54}"/>
          </ac:spMkLst>
        </pc:spChg>
        <pc:spChg chg="mod">
          <ac:chgData name="Aurelien Domont" userId="6da7715ce44349b3" providerId="LiveId" clId="{3056F74B-79CF-4229-8BA2-4FA2B4329F51}" dt="2021-09-23T04:15:37.462" v="3151" actId="1076"/>
          <ac:spMkLst>
            <pc:docMk/>
            <pc:sldMk cId="2287950184" sldId="2265"/>
            <ac:spMk id="56" creationId="{DB175B14-CEC4-4057-B9DD-0E014EDA2827}"/>
          </ac:spMkLst>
        </pc:spChg>
        <pc:spChg chg="mod">
          <ac:chgData name="Aurelien Domont" userId="6da7715ce44349b3" providerId="LiveId" clId="{3056F74B-79CF-4229-8BA2-4FA2B4329F51}" dt="2021-09-23T04:15:37.462" v="3151" actId="1076"/>
          <ac:spMkLst>
            <pc:docMk/>
            <pc:sldMk cId="2287950184" sldId="2265"/>
            <ac:spMk id="57" creationId="{46BE663F-DD6F-4896-B340-3ECA51D3E7C5}"/>
          </ac:spMkLst>
        </pc:spChg>
        <pc:spChg chg="mod">
          <ac:chgData name="Aurelien Domont" userId="6da7715ce44349b3" providerId="LiveId" clId="{3056F74B-79CF-4229-8BA2-4FA2B4329F51}" dt="2021-09-23T04:15:37.462" v="3151" actId="1076"/>
          <ac:spMkLst>
            <pc:docMk/>
            <pc:sldMk cId="2287950184" sldId="2265"/>
            <ac:spMk id="58" creationId="{64CCDE5E-A606-40C9-9BF2-36C60F1E1620}"/>
          </ac:spMkLst>
        </pc:spChg>
        <pc:spChg chg="mod">
          <ac:chgData name="Aurelien Domont" userId="6da7715ce44349b3" providerId="LiveId" clId="{3056F74B-79CF-4229-8BA2-4FA2B4329F51}" dt="2021-09-23T04:15:37.462" v="3151" actId="1076"/>
          <ac:spMkLst>
            <pc:docMk/>
            <pc:sldMk cId="2287950184" sldId="2265"/>
            <ac:spMk id="59" creationId="{53AEF009-C2C5-4E33-BE1F-BF54CE8466C9}"/>
          </ac:spMkLst>
        </pc:spChg>
        <pc:spChg chg="add mod">
          <ac:chgData name="Aurelien Domont" userId="6da7715ce44349b3" providerId="LiveId" clId="{3056F74B-79CF-4229-8BA2-4FA2B4329F51}" dt="2021-09-23T04:23:31.153" v="3409" actId="207"/>
          <ac:spMkLst>
            <pc:docMk/>
            <pc:sldMk cId="2287950184" sldId="2265"/>
            <ac:spMk id="66" creationId="{617B5DF7-F909-4566-BA4D-ED7B2ADD5F0B}"/>
          </ac:spMkLst>
        </pc:spChg>
        <pc:spChg chg="add mod">
          <ac:chgData name="Aurelien Domont" userId="6da7715ce44349b3" providerId="LiveId" clId="{3056F74B-79CF-4229-8BA2-4FA2B4329F51}" dt="2021-09-23T04:23:31.153" v="3409" actId="207"/>
          <ac:spMkLst>
            <pc:docMk/>
            <pc:sldMk cId="2287950184" sldId="2265"/>
            <ac:spMk id="67" creationId="{4E77B491-A28D-45DF-8B7A-EFEF5B973628}"/>
          </ac:spMkLst>
        </pc:spChg>
        <pc:spChg chg="add mod">
          <ac:chgData name="Aurelien Domont" userId="6da7715ce44349b3" providerId="LiveId" clId="{3056F74B-79CF-4229-8BA2-4FA2B4329F51}" dt="2021-09-23T04:23:31.153" v="3409" actId="207"/>
          <ac:spMkLst>
            <pc:docMk/>
            <pc:sldMk cId="2287950184" sldId="2265"/>
            <ac:spMk id="68" creationId="{3B8471DD-8B11-4033-8813-B75273967C48}"/>
          </ac:spMkLst>
        </pc:spChg>
        <pc:spChg chg="add mod">
          <ac:chgData name="Aurelien Domont" userId="6da7715ce44349b3" providerId="LiveId" clId="{3056F74B-79CF-4229-8BA2-4FA2B4329F51}" dt="2021-09-23T04:23:31.153" v="3409" actId="207"/>
          <ac:spMkLst>
            <pc:docMk/>
            <pc:sldMk cId="2287950184" sldId="2265"/>
            <ac:spMk id="69" creationId="{1D61908C-7C67-44FF-AE20-C35F630C7A5C}"/>
          </ac:spMkLst>
        </pc:spChg>
        <pc:spChg chg="add mod">
          <ac:chgData name="Aurelien Domont" userId="6da7715ce44349b3" providerId="LiveId" clId="{3056F74B-79CF-4229-8BA2-4FA2B4329F51}" dt="2021-09-23T04:23:31.153" v="3409" actId="207"/>
          <ac:spMkLst>
            <pc:docMk/>
            <pc:sldMk cId="2287950184" sldId="2265"/>
            <ac:spMk id="70" creationId="{8D445710-216D-4051-B650-2635F4223E62}"/>
          </ac:spMkLst>
        </pc:spChg>
        <pc:cxnChg chg="del mod">
          <ac:chgData name="Aurelien Domont" userId="6da7715ce44349b3" providerId="LiveId" clId="{3056F74B-79CF-4229-8BA2-4FA2B4329F51}" dt="2021-09-23T04:15:31.615" v="3150" actId="478"/>
          <ac:cxnSpMkLst>
            <pc:docMk/>
            <pc:sldMk cId="2287950184" sldId="2265"/>
            <ac:cxnSpMk id="14" creationId="{5FB391BF-3585-4D2A-91E6-5EEE90F2A3C1}"/>
          </ac:cxnSpMkLst>
        </pc:cxnChg>
        <pc:cxnChg chg="del mod">
          <ac:chgData name="Aurelien Domont" userId="6da7715ce44349b3" providerId="LiveId" clId="{3056F74B-79CF-4229-8BA2-4FA2B4329F51}" dt="2021-09-23T04:15:31.615" v="3150" actId="478"/>
          <ac:cxnSpMkLst>
            <pc:docMk/>
            <pc:sldMk cId="2287950184" sldId="2265"/>
            <ac:cxnSpMk id="15" creationId="{9E670762-0A2A-489A-B92A-59DEA108DD0D}"/>
          </ac:cxnSpMkLst>
        </pc:cxnChg>
        <pc:cxnChg chg="del mod">
          <ac:chgData name="Aurelien Domont" userId="6da7715ce44349b3" providerId="LiveId" clId="{3056F74B-79CF-4229-8BA2-4FA2B4329F51}" dt="2021-09-23T04:15:31.615" v="3150" actId="478"/>
          <ac:cxnSpMkLst>
            <pc:docMk/>
            <pc:sldMk cId="2287950184" sldId="2265"/>
            <ac:cxnSpMk id="18" creationId="{8BC9692C-8662-4DB9-A0F9-E0D7F53DFE40}"/>
          </ac:cxnSpMkLst>
        </pc:cxnChg>
        <pc:cxnChg chg="del mod">
          <ac:chgData name="Aurelien Domont" userId="6da7715ce44349b3" providerId="LiveId" clId="{3056F74B-79CF-4229-8BA2-4FA2B4329F51}" dt="2021-09-23T04:15:31.615" v="3150" actId="478"/>
          <ac:cxnSpMkLst>
            <pc:docMk/>
            <pc:sldMk cId="2287950184" sldId="2265"/>
            <ac:cxnSpMk id="21" creationId="{EEC935B9-170A-44C6-B812-D33C827342F5}"/>
          </ac:cxnSpMkLst>
        </pc:cxnChg>
        <pc:cxnChg chg="del mod">
          <ac:chgData name="Aurelien Domont" userId="6da7715ce44349b3" providerId="LiveId" clId="{3056F74B-79CF-4229-8BA2-4FA2B4329F51}" dt="2021-09-23T04:15:31.615" v="3150" actId="478"/>
          <ac:cxnSpMkLst>
            <pc:docMk/>
            <pc:sldMk cId="2287950184" sldId="2265"/>
            <ac:cxnSpMk id="22" creationId="{10554F60-590B-4868-A20E-75C801B5BC1F}"/>
          </ac:cxnSpMkLst>
        </pc:cxnChg>
        <pc:cxnChg chg="mod">
          <ac:chgData name="Aurelien Domont" userId="6da7715ce44349b3" providerId="LiveId" clId="{3056F74B-79CF-4229-8BA2-4FA2B4329F51}" dt="2021-09-23T04:15:37.462" v="3151" actId="1076"/>
          <ac:cxnSpMkLst>
            <pc:docMk/>
            <pc:sldMk cId="2287950184" sldId="2265"/>
            <ac:cxnSpMk id="25" creationId="{6D61DAB2-7548-4E9C-811C-042AF0B2C89B}"/>
          </ac:cxnSpMkLst>
        </pc:cxnChg>
        <pc:cxnChg chg="mod">
          <ac:chgData name="Aurelien Domont" userId="6da7715ce44349b3" providerId="LiveId" clId="{3056F74B-79CF-4229-8BA2-4FA2B4329F51}" dt="2021-09-23T04:15:37.462" v="3151" actId="1076"/>
          <ac:cxnSpMkLst>
            <pc:docMk/>
            <pc:sldMk cId="2287950184" sldId="2265"/>
            <ac:cxnSpMk id="26" creationId="{278E90F9-6FBB-49EE-9668-A5C7A26DA94D}"/>
          </ac:cxnSpMkLst>
        </pc:cxnChg>
        <pc:cxnChg chg="mod">
          <ac:chgData name="Aurelien Domont" userId="6da7715ce44349b3" providerId="LiveId" clId="{3056F74B-79CF-4229-8BA2-4FA2B4329F51}" dt="2021-09-23T04:15:37.462" v="3151" actId="1076"/>
          <ac:cxnSpMkLst>
            <pc:docMk/>
            <pc:sldMk cId="2287950184" sldId="2265"/>
            <ac:cxnSpMk id="27" creationId="{2F023CE0-04F9-4B42-AAE6-9E6D7F0710BA}"/>
          </ac:cxnSpMkLst>
        </pc:cxnChg>
        <pc:cxnChg chg="mod">
          <ac:chgData name="Aurelien Domont" userId="6da7715ce44349b3" providerId="LiveId" clId="{3056F74B-79CF-4229-8BA2-4FA2B4329F51}" dt="2021-09-23T04:15:37.462" v="3151" actId="1076"/>
          <ac:cxnSpMkLst>
            <pc:docMk/>
            <pc:sldMk cId="2287950184" sldId="2265"/>
            <ac:cxnSpMk id="28" creationId="{A925B8E8-8F96-4C08-A76A-9FA8A981C2D1}"/>
          </ac:cxnSpMkLst>
        </pc:cxnChg>
        <pc:cxnChg chg="mod">
          <ac:chgData name="Aurelien Domont" userId="6da7715ce44349b3" providerId="LiveId" clId="{3056F74B-79CF-4229-8BA2-4FA2B4329F51}" dt="2021-09-23T04:15:37.462" v="3151" actId="1076"/>
          <ac:cxnSpMkLst>
            <pc:docMk/>
            <pc:sldMk cId="2287950184" sldId="2265"/>
            <ac:cxnSpMk id="29" creationId="{E9DCF84A-706F-49C9-B8C7-F60634711873}"/>
          </ac:cxnSpMkLst>
        </pc:cxnChg>
      </pc:sldChg>
      <pc:sldChg chg="add">
        <pc:chgData name="Aurelien Domont" userId="6da7715ce44349b3" providerId="LiveId" clId="{3056F74B-79CF-4229-8BA2-4FA2B4329F51}" dt="2021-09-23T04:23:08.795" v="3392"/>
        <pc:sldMkLst>
          <pc:docMk/>
          <pc:sldMk cId="2358097341" sldId="2266"/>
        </pc:sldMkLst>
      </pc:sldChg>
      <pc:sldChg chg="addSp delSp modSp add mod">
        <pc:chgData name="Aurelien Domont" userId="6da7715ce44349b3" providerId="LiveId" clId="{3056F74B-79CF-4229-8BA2-4FA2B4329F51}" dt="2021-09-23T04:24:45.826" v="3452" actId="478"/>
        <pc:sldMkLst>
          <pc:docMk/>
          <pc:sldMk cId="2417600701" sldId="2267"/>
        </pc:sldMkLst>
        <pc:spChg chg="mod">
          <ac:chgData name="Aurelien Domont" userId="6da7715ce44349b3" providerId="LiveId" clId="{3056F74B-79CF-4229-8BA2-4FA2B4329F51}" dt="2021-09-23T04:23:47.818" v="3420" actId="20577"/>
          <ac:spMkLst>
            <pc:docMk/>
            <pc:sldMk cId="2417600701" sldId="2267"/>
            <ac:spMk id="16" creationId="{6C2BB713-9637-4B9B-938F-E9768876782A}"/>
          </ac:spMkLst>
        </pc:spChg>
        <pc:spChg chg="add del mod">
          <ac:chgData name="Aurelien Domont" userId="6da7715ce44349b3" providerId="LiveId" clId="{3056F74B-79CF-4229-8BA2-4FA2B4329F51}" dt="2021-09-23T04:24:45.826" v="3452" actId="478"/>
          <ac:spMkLst>
            <pc:docMk/>
            <pc:sldMk cId="2417600701" sldId="2267"/>
            <ac:spMk id="66" creationId="{C9C8C3EF-CA8B-4147-9E70-50F518F2833D}"/>
          </ac:spMkLst>
        </pc:spChg>
        <pc:spChg chg="add del mod">
          <ac:chgData name="Aurelien Domont" userId="6da7715ce44349b3" providerId="LiveId" clId="{3056F74B-79CF-4229-8BA2-4FA2B4329F51}" dt="2021-09-23T04:24:45.826" v="3452" actId="478"/>
          <ac:spMkLst>
            <pc:docMk/>
            <pc:sldMk cId="2417600701" sldId="2267"/>
            <ac:spMk id="67" creationId="{BC6058A9-94F0-48B6-BB58-91444634C653}"/>
          </ac:spMkLst>
        </pc:spChg>
        <pc:spChg chg="add del mod">
          <ac:chgData name="Aurelien Domont" userId="6da7715ce44349b3" providerId="LiveId" clId="{3056F74B-79CF-4229-8BA2-4FA2B4329F51}" dt="2021-09-23T04:24:45.826" v="3452" actId="478"/>
          <ac:spMkLst>
            <pc:docMk/>
            <pc:sldMk cId="2417600701" sldId="2267"/>
            <ac:spMk id="68" creationId="{323AEE07-7CC8-4E66-878F-67068E1497D8}"/>
          </ac:spMkLst>
        </pc:spChg>
        <pc:spChg chg="add del mod">
          <ac:chgData name="Aurelien Domont" userId="6da7715ce44349b3" providerId="LiveId" clId="{3056F74B-79CF-4229-8BA2-4FA2B4329F51}" dt="2021-09-23T04:24:45.826" v="3452" actId="478"/>
          <ac:spMkLst>
            <pc:docMk/>
            <pc:sldMk cId="2417600701" sldId="2267"/>
            <ac:spMk id="69" creationId="{F249E188-8077-4A3F-9CB7-BCFE35AF113E}"/>
          </ac:spMkLst>
        </pc:spChg>
        <pc:spChg chg="add del mod">
          <ac:chgData name="Aurelien Domont" userId="6da7715ce44349b3" providerId="LiveId" clId="{3056F74B-79CF-4229-8BA2-4FA2B4329F51}" dt="2021-09-23T04:24:45.826" v="3452" actId="478"/>
          <ac:spMkLst>
            <pc:docMk/>
            <pc:sldMk cId="2417600701" sldId="2267"/>
            <ac:spMk id="70" creationId="{3DF6EF4B-6C0D-4157-A168-803E35F24A6F}"/>
          </ac:spMkLst>
        </pc:spChg>
        <pc:spChg chg="add del">
          <ac:chgData name="Aurelien Domont" userId="6da7715ce44349b3" providerId="LiveId" clId="{3056F74B-79CF-4229-8BA2-4FA2B4329F51}" dt="2021-09-23T04:24:30.897" v="3449" actId="22"/>
          <ac:spMkLst>
            <pc:docMk/>
            <pc:sldMk cId="2417600701" sldId="2267"/>
            <ac:spMk id="71" creationId="{DB0EB840-7EED-4747-8AC1-A3DF774A5731}"/>
          </ac:spMkLst>
        </pc:spChg>
        <pc:spChg chg="mod">
          <ac:chgData name="Aurelien Domont" userId="6da7715ce44349b3" providerId="LiveId" clId="{3056F74B-79CF-4229-8BA2-4FA2B4329F51}" dt="2021-09-23T04:23:58.702" v="3439" actId="1035"/>
          <ac:spMkLst>
            <pc:docMk/>
            <pc:sldMk cId="2417600701" sldId="2267"/>
            <ac:spMk id="89" creationId="{5293073A-0CB1-404E-A602-3F3B39B206FF}"/>
          </ac:spMkLst>
        </pc:spChg>
        <pc:spChg chg="mod">
          <ac:chgData name="Aurelien Domont" userId="6da7715ce44349b3" providerId="LiveId" clId="{3056F74B-79CF-4229-8BA2-4FA2B4329F51}" dt="2021-09-23T04:23:58.702" v="3439" actId="1035"/>
          <ac:spMkLst>
            <pc:docMk/>
            <pc:sldMk cId="2417600701" sldId="2267"/>
            <ac:spMk id="90" creationId="{02B670F7-7F0D-4044-B54E-60EFA8DE668F}"/>
          </ac:spMkLst>
        </pc:spChg>
        <pc:spChg chg="mod">
          <ac:chgData name="Aurelien Domont" userId="6da7715ce44349b3" providerId="LiveId" clId="{3056F74B-79CF-4229-8BA2-4FA2B4329F51}" dt="2021-09-23T04:23:58.702" v="3439" actId="1035"/>
          <ac:spMkLst>
            <pc:docMk/>
            <pc:sldMk cId="2417600701" sldId="2267"/>
            <ac:spMk id="96" creationId="{C6176997-2C40-4461-B178-9AF06DC7F40E}"/>
          </ac:spMkLst>
        </pc:spChg>
        <pc:spChg chg="mod">
          <ac:chgData name="Aurelien Domont" userId="6da7715ce44349b3" providerId="LiveId" clId="{3056F74B-79CF-4229-8BA2-4FA2B4329F51}" dt="2021-09-23T04:23:58.702" v="3439" actId="1035"/>
          <ac:spMkLst>
            <pc:docMk/>
            <pc:sldMk cId="2417600701" sldId="2267"/>
            <ac:spMk id="97" creationId="{352340E1-6DBB-4431-AD46-6802F240351C}"/>
          </ac:spMkLst>
        </pc:spChg>
        <pc:spChg chg="mod">
          <ac:chgData name="Aurelien Domont" userId="6da7715ce44349b3" providerId="LiveId" clId="{3056F74B-79CF-4229-8BA2-4FA2B4329F51}" dt="2021-09-23T04:23:58.702" v="3439" actId="1035"/>
          <ac:spMkLst>
            <pc:docMk/>
            <pc:sldMk cId="2417600701" sldId="2267"/>
            <ac:spMk id="98" creationId="{F9679BBD-0063-4328-9918-EBF953F9AB7A}"/>
          </ac:spMkLst>
        </pc:spChg>
        <pc:spChg chg="mod">
          <ac:chgData name="Aurelien Domont" userId="6da7715ce44349b3" providerId="LiveId" clId="{3056F74B-79CF-4229-8BA2-4FA2B4329F51}" dt="2021-09-23T04:23:58.702" v="3439" actId="1035"/>
          <ac:spMkLst>
            <pc:docMk/>
            <pc:sldMk cId="2417600701" sldId="2267"/>
            <ac:spMk id="99" creationId="{2DB93F9E-B1C9-4A41-8709-419FF2D61EF5}"/>
          </ac:spMkLst>
        </pc:spChg>
        <pc:spChg chg="mod">
          <ac:chgData name="Aurelien Domont" userId="6da7715ce44349b3" providerId="LiveId" clId="{3056F74B-79CF-4229-8BA2-4FA2B4329F51}" dt="2021-09-23T04:23:58.702" v="3439" actId="1035"/>
          <ac:spMkLst>
            <pc:docMk/>
            <pc:sldMk cId="2417600701" sldId="2267"/>
            <ac:spMk id="100" creationId="{223CD049-E8E0-4E33-884D-DE91B1F5B885}"/>
          </ac:spMkLst>
        </pc:spChg>
        <pc:spChg chg="mod">
          <ac:chgData name="Aurelien Domont" userId="6da7715ce44349b3" providerId="LiveId" clId="{3056F74B-79CF-4229-8BA2-4FA2B4329F51}" dt="2021-09-23T04:23:58.702" v="3439" actId="1035"/>
          <ac:spMkLst>
            <pc:docMk/>
            <pc:sldMk cId="2417600701" sldId="2267"/>
            <ac:spMk id="101" creationId="{F5340496-77D2-489A-9CC9-A683CD7AEB5C}"/>
          </ac:spMkLst>
        </pc:spChg>
        <pc:spChg chg="mod">
          <ac:chgData name="Aurelien Domont" userId="6da7715ce44349b3" providerId="LiveId" clId="{3056F74B-79CF-4229-8BA2-4FA2B4329F51}" dt="2021-09-23T04:23:58.702" v="3439" actId="1035"/>
          <ac:spMkLst>
            <pc:docMk/>
            <pc:sldMk cId="2417600701" sldId="2267"/>
            <ac:spMk id="102" creationId="{FEA49C4B-4355-421C-A290-1E1A9F96E757}"/>
          </ac:spMkLst>
        </pc:spChg>
        <pc:spChg chg="mod">
          <ac:chgData name="Aurelien Domont" userId="6da7715ce44349b3" providerId="LiveId" clId="{3056F74B-79CF-4229-8BA2-4FA2B4329F51}" dt="2021-09-23T04:23:58.702" v="3439" actId="1035"/>
          <ac:spMkLst>
            <pc:docMk/>
            <pc:sldMk cId="2417600701" sldId="2267"/>
            <ac:spMk id="103" creationId="{5071BEF8-ADB4-47BA-9936-292982348B44}"/>
          </ac:spMkLst>
        </pc:spChg>
        <pc:spChg chg="mod">
          <ac:chgData name="Aurelien Domont" userId="6da7715ce44349b3" providerId="LiveId" clId="{3056F74B-79CF-4229-8BA2-4FA2B4329F51}" dt="2021-09-23T04:23:58.702" v="3439" actId="1035"/>
          <ac:spMkLst>
            <pc:docMk/>
            <pc:sldMk cId="2417600701" sldId="2267"/>
            <ac:spMk id="104" creationId="{2ABE6662-C4E5-435A-9FBA-A82576213985}"/>
          </ac:spMkLst>
        </pc:spChg>
        <pc:spChg chg="mod">
          <ac:chgData name="Aurelien Domont" userId="6da7715ce44349b3" providerId="LiveId" clId="{3056F74B-79CF-4229-8BA2-4FA2B4329F51}" dt="2021-09-23T04:23:58.702" v="3439" actId="1035"/>
          <ac:spMkLst>
            <pc:docMk/>
            <pc:sldMk cId="2417600701" sldId="2267"/>
            <ac:spMk id="105" creationId="{42787DF1-FF33-4A37-BB01-6DF7C908619A}"/>
          </ac:spMkLst>
        </pc:spChg>
        <pc:spChg chg="mod">
          <ac:chgData name="Aurelien Domont" userId="6da7715ce44349b3" providerId="LiveId" clId="{3056F74B-79CF-4229-8BA2-4FA2B4329F51}" dt="2021-09-23T04:23:58.702" v="3439" actId="1035"/>
          <ac:spMkLst>
            <pc:docMk/>
            <pc:sldMk cId="2417600701" sldId="2267"/>
            <ac:spMk id="106" creationId="{E4572C8A-77D0-479D-B571-A8FCA205A5DE}"/>
          </ac:spMkLst>
        </pc:spChg>
        <pc:spChg chg="mod">
          <ac:chgData name="Aurelien Domont" userId="6da7715ce44349b3" providerId="LiveId" clId="{3056F74B-79CF-4229-8BA2-4FA2B4329F51}" dt="2021-09-23T04:23:58.702" v="3439" actId="1035"/>
          <ac:spMkLst>
            <pc:docMk/>
            <pc:sldMk cId="2417600701" sldId="2267"/>
            <ac:spMk id="107" creationId="{3A1AC3E7-76BA-4201-BBA6-AFD3EC34233A}"/>
          </ac:spMkLst>
        </pc:spChg>
        <pc:spChg chg="mod">
          <ac:chgData name="Aurelien Domont" userId="6da7715ce44349b3" providerId="LiveId" clId="{3056F74B-79CF-4229-8BA2-4FA2B4329F51}" dt="2021-09-23T04:23:58.702" v="3439" actId="1035"/>
          <ac:spMkLst>
            <pc:docMk/>
            <pc:sldMk cId="2417600701" sldId="2267"/>
            <ac:spMk id="108" creationId="{D3B3728B-1385-4E51-9BEC-BBF7223B0AEC}"/>
          </ac:spMkLst>
        </pc:spChg>
        <pc:spChg chg="mod">
          <ac:chgData name="Aurelien Domont" userId="6da7715ce44349b3" providerId="LiveId" clId="{3056F74B-79CF-4229-8BA2-4FA2B4329F51}" dt="2021-09-23T04:23:58.702" v="3439" actId="1035"/>
          <ac:spMkLst>
            <pc:docMk/>
            <pc:sldMk cId="2417600701" sldId="2267"/>
            <ac:spMk id="109" creationId="{89EB07F8-0F20-43FF-9102-72A68DBDBFAA}"/>
          </ac:spMkLst>
        </pc:spChg>
        <pc:spChg chg="mod">
          <ac:chgData name="Aurelien Domont" userId="6da7715ce44349b3" providerId="LiveId" clId="{3056F74B-79CF-4229-8BA2-4FA2B4329F51}" dt="2021-09-23T04:23:58.702" v="3439" actId="1035"/>
          <ac:spMkLst>
            <pc:docMk/>
            <pc:sldMk cId="2417600701" sldId="2267"/>
            <ac:spMk id="110" creationId="{2B8FC0A1-1AEE-4B61-A4FC-9668CB419C6A}"/>
          </ac:spMkLst>
        </pc:spChg>
        <pc:spChg chg="mod">
          <ac:chgData name="Aurelien Domont" userId="6da7715ce44349b3" providerId="LiveId" clId="{3056F74B-79CF-4229-8BA2-4FA2B4329F51}" dt="2021-09-23T04:23:58.702" v="3439" actId="1035"/>
          <ac:spMkLst>
            <pc:docMk/>
            <pc:sldMk cId="2417600701" sldId="2267"/>
            <ac:spMk id="111" creationId="{8D24E98D-6ECF-4046-8BAF-FAA13A8FF0AD}"/>
          </ac:spMkLst>
        </pc:spChg>
        <pc:spChg chg="mod">
          <ac:chgData name="Aurelien Domont" userId="6da7715ce44349b3" providerId="LiveId" clId="{3056F74B-79CF-4229-8BA2-4FA2B4329F51}" dt="2021-09-23T04:23:58.702" v="3439" actId="1035"/>
          <ac:spMkLst>
            <pc:docMk/>
            <pc:sldMk cId="2417600701" sldId="2267"/>
            <ac:spMk id="112" creationId="{98F05424-B13F-4BDB-835C-583ED534D4D4}"/>
          </ac:spMkLst>
        </pc:spChg>
        <pc:spChg chg="mod">
          <ac:chgData name="Aurelien Domont" userId="6da7715ce44349b3" providerId="LiveId" clId="{3056F74B-79CF-4229-8BA2-4FA2B4329F51}" dt="2021-09-23T04:23:58.702" v="3439" actId="1035"/>
          <ac:spMkLst>
            <pc:docMk/>
            <pc:sldMk cId="2417600701" sldId="2267"/>
            <ac:spMk id="113" creationId="{5026139C-13A7-44CE-B088-B8A20F0DB682}"/>
          </ac:spMkLst>
        </pc:spChg>
        <pc:spChg chg="mod">
          <ac:chgData name="Aurelien Domont" userId="6da7715ce44349b3" providerId="LiveId" clId="{3056F74B-79CF-4229-8BA2-4FA2B4329F51}" dt="2021-09-23T04:23:58.702" v="3439" actId="1035"/>
          <ac:spMkLst>
            <pc:docMk/>
            <pc:sldMk cId="2417600701" sldId="2267"/>
            <ac:spMk id="114" creationId="{B3D9AAC7-8BE5-4992-B78F-5D017C1F9202}"/>
          </ac:spMkLst>
        </pc:spChg>
        <pc:spChg chg="mod">
          <ac:chgData name="Aurelien Domont" userId="6da7715ce44349b3" providerId="LiveId" clId="{3056F74B-79CF-4229-8BA2-4FA2B4329F51}" dt="2021-09-23T04:23:58.702" v="3439" actId="1035"/>
          <ac:spMkLst>
            <pc:docMk/>
            <pc:sldMk cId="2417600701" sldId="2267"/>
            <ac:spMk id="115" creationId="{4204758A-081B-4AE9-9257-5D7CBC03365E}"/>
          </ac:spMkLst>
        </pc:spChg>
        <pc:spChg chg="mod">
          <ac:chgData name="Aurelien Domont" userId="6da7715ce44349b3" providerId="LiveId" clId="{3056F74B-79CF-4229-8BA2-4FA2B4329F51}" dt="2021-09-23T04:23:58.702" v="3439" actId="1035"/>
          <ac:spMkLst>
            <pc:docMk/>
            <pc:sldMk cId="2417600701" sldId="2267"/>
            <ac:spMk id="116" creationId="{AA2F3C75-5182-463C-BA75-F2C7B7BEB22F}"/>
          </ac:spMkLst>
        </pc:spChg>
        <pc:spChg chg="mod">
          <ac:chgData name="Aurelien Domont" userId="6da7715ce44349b3" providerId="LiveId" clId="{3056F74B-79CF-4229-8BA2-4FA2B4329F51}" dt="2021-09-23T04:23:58.702" v="3439" actId="1035"/>
          <ac:spMkLst>
            <pc:docMk/>
            <pc:sldMk cId="2417600701" sldId="2267"/>
            <ac:spMk id="117" creationId="{FF1EE458-03D0-4B0E-9758-8DB61B60B3B7}"/>
          </ac:spMkLst>
        </pc:spChg>
        <pc:spChg chg="mod">
          <ac:chgData name="Aurelien Domont" userId="6da7715ce44349b3" providerId="LiveId" clId="{3056F74B-79CF-4229-8BA2-4FA2B4329F51}" dt="2021-09-23T04:23:58.702" v="3439" actId="1035"/>
          <ac:spMkLst>
            <pc:docMk/>
            <pc:sldMk cId="2417600701" sldId="2267"/>
            <ac:spMk id="118" creationId="{528607E0-9375-4ED8-B65A-3F9BE7B1B233}"/>
          </ac:spMkLst>
        </pc:spChg>
        <pc:spChg chg="mod">
          <ac:chgData name="Aurelien Domont" userId="6da7715ce44349b3" providerId="LiveId" clId="{3056F74B-79CF-4229-8BA2-4FA2B4329F51}" dt="2021-09-23T04:23:58.702" v="3439" actId="1035"/>
          <ac:spMkLst>
            <pc:docMk/>
            <pc:sldMk cId="2417600701" sldId="2267"/>
            <ac:spMk id="119" creationId="{E83E37CE-34FB-4D9F-8A52-D60686053F2A}"/>
          </ac:spMkLst>
        </pc:spChg>
        <pc:spChg chg="mod">
          <ac:chgData name="Aurelien Domont" userId="6da7715ce44349b3" providerId="LiveId" clId="{3056F74B-79CF-4229-8BA2-4FA2B4329F51}" dt="2021-09-23T04:23:58.702" v="3439" actId="1035"/>
          <ac:spMkLst>
            <pc:docMk/>
            <pc:sldMk cId="2417600701" sldId="2267"/>
            <ac:spMk id="120" creationId="{1AC3F6D1-53AA-4932-8CE5-4062DC55CC05}"/>
          </ac:spMkLst>
        </pc:spChg>
        <pc:spChg chg="mod">
          <ac:chgData name="Aurelien Domont" userId="6da7715ce44349b3" providerId="LiveId" clId="{3056F74B-79CF-4229-8BA2-4FA2B4329F51}" dt="2021-09-23T04:23:58.702" v="3439" actId="1035"/>
          <ac:spMkLst>
            <pc:docMk/>
            <pc:sldMk cId="2417600701" sldId="2267"/>
            <ac:spMk id="121" creationId="{418421F0-20E9-4344-B118-A0E261E35CB0}"/>
          </ac:spMkLst>
        </pc:spChg>
        <pc:spChg chg="mod">
          <ac:chgData name="Aurelien Domont" userId="6da7715ce44349b3" providerId="LiveId" clId="{3056F74B-79CF-4229-8BA2-4FA2B4329F51}" dt="2021-09-23T04:23:58.702" v="3439" actId="1035"/>
          <ac:spMkLst>
            <pc:docMk/>
            <pc:sldMk cId="2417600701" sldId="2267"/>
            <ac:spMk id="122" creationId="{549B8614-70B8-42E1-8719-39E21E31475E}"/>
          </ac:spMkLst>
        </pc:spChg>
        <pc:spChg chg="mod">
          <ac:chgData name="Aurelien Domont" userId="6da7715ce44349b3" providerId="LiveId" clId="{3056F74B-79CF-4229-8BA2-4FA2B4329F51}" dt="2021-09-23T04:23:58.702" v="3439" actId="1035"/>
          <ac:spMkLst>
            <pc:docMk/>
            <pc:sldMk cId="2417600701" sldId="2267"/>
            <ac:spMk id="123" creationId="{0172EE7A-8B95-47EE-ADE6-9950FDDDBD6D}"/>
          </ac:spMkLst>
        </pc:spChg>
        <pc:spChg chg="mod">
          <ac:chgData name="Aurelien Domont" userId="6da7715ce44349b3" providerId="LiveId" clId="{3056F74B-79CF-4229-8BA2-4FA2B4329F51}" dt="2021-09-23T04:23:58.702" v="3439" actId="1035"/>
          <ac:spMkLst>
            <pc:docMk/>
            <pc:sldMk cId="2417600701" sldId="2267"/>
            <ac:spMk id="124" creationId="{8BC50B2F-FFD8-414B-824C-AA5DBBA53B5C}"/>
          </ac:spMkLst>
        </pc:spChg>
        <pc:spChg chg="mod">
          <ac:chgData name="Aurelien Domont" userId="6da7715ce44349b3" providerId="LiveId" clId="{3056F74B-79CF-4229-8BA2-4FA2B4329F51}" dt="2021-09-23T04:23:58.702" v="3439" actId="1035"/>
          <ac:spMkLst>
            <pc:docMk/>
            <pc:sldMk cId="2417600701" sldId="2267"/>
            <ac:spMk id="125" creationId="{351FEB5A-210C-40B5-90B7-52DADD38FA94}"/>
          </ac:spMkLst>
        </pc:spChg>
        <pc:spChg chg="mod">
          <ac:chgData name="Aurelien Domont" userId="6da7715ce44349b3" providerId="LiveId" clId="{3056F74B-79CF-4229-8BA2-4FA2B4329F51}" dt="2021-09-23T04:24:14.109" v="3443"/>
          <ac:spMkLst>
            <pc:docMk/>
            <pc:sldMk cId="2417600701" sldId="2267"/>
            <ac:spMk id="126" creationId="{62880837-2C43-40E8-9AF6-B862401777E2}"/>
          </ac:spMkLst>
        </pc:spChg>
        <pc:spChg chg="mod">
          <ac:chgData name="Aurelien Domont" userId="6da7715ce44349b3" providerId="LiveId" clId="{3056F74B-79CF-4229-8BA2-4FA2B4329F51}" dt="2021-09-23T04:24:16.749" v="3444"/>
          <ac:spMkLst>
            <pc:docMk/>
            <pc:sldMk cId="2417600701" sldId="2267"/>
            <ac:spMk id="127" creationId="{9D8C6FBA-53B5-4F81-A74B-1E8F9A7484FB}"/>
          </ac:spMkLst>
        </pc:spChg>
        <pc:spChg chg="mod">
          <ac:chgData name="Aurelien Domont" userId="6da7715ce44349b3" providerId="LiveId" clId="{3056F74B-79CF-4229-8BA2-4FA2B4329F51}" dt="2021-09-23T04:24:26.685" v="3447"/>
          <ac:spMkLst>
            <pc:docMk/>
            <pc:sldMk cId="2417600701" sldId="2267"/>
            <ac:spMk id="128" creationId="{71CE224F-9636-4E50-9853-22A0052BD165}"/>
          </ac:spMkLst>
        </pc:spChg>
        <pc:spChg chg="mod">
          <ac:chgData name="Aurelien Domont" userId="6da7715ce44349b3" providerId="LiveId" clId="{3056F74B-79CF-4229-8BA2-4FA2B4329F51}" dt="2021-09-23T04:24:34.199" v="3450"/>
          <ac:spMkLst>
            <pc:docMk/>
            <pc:sldMk cId="2417600701" sldId="2267"/>
            <ac:spMk id="129" creationId="{706028E1-F1CE-49C0-B366-83E32F82CDC9}"/>
          </ac:spMkLst>
        </pc:spChg>
        <pc:spChg chg="mod">
          <ac:chgData name="Aurelien Domont" userId="6da7715ce44349b3" providerId="LiveId" clId="{3056F74B-79CF-4229-8BA2-4FA2B4329F51}" dt="2021-09-23T04:24:41.797" v="3451"/>
          <ac:spMkLst>
            <pc:docMk/>
            <pc:sldMk cId="2417600701" sldId="2267"/>
            <ac:spMk id="130" creationId="{0176836C-62DF-4238-BF60-E3EC060D49DE}"/>
          </ac:spMkLst>
        </pc:spChg>
        <pc:spChg chg="del">
          <ac:chgData name="Aurelien Domont" userId="6da7715ce44349b3" providerId="LiveId" clId="{3056F74B-79CF-4229-8BA2-4FA2B4329F51}" dt="2021-09-23T04:23:52.364" v="3421" actId="478"/>
          <ac:spMkLst>
            <pc:docMk/>
            <pc:sldMk cId="2417600701" sldId="2267"/>
            <ac:spMk id="132" creationId="{FA675A27-F6CB-4472-9130-74A850F86790}"/>
          </ac:spMkLst>
        </pc:spChg>
        <pc:spChg chg="del">
          <ac:chgData name="Aurelien Domont" userId="6da7715ce44349b3" providerId="LiveId" clId="{3056F74B-79CF-4229-8BA2-4FA2B4329F51}" dt="2021-09-23T04:23:52.364" v="3421" actId="478"/>
          <ac:spMkLst>
            <pc:docMk/>
            <pc:sldMk cId="2417600701" sldId="2267"/>
            <ac:spMk id="133" creationId="{B6DB05D4-35C0-4881-B68A-A3DE2E0B5B54}"/>
          </ac:spMkLst>
        </pc:spChg>
        <pc:spChg chg="del">
          <ac:chgData name="Aurelien Domont" userId="6da7715ce44349b3" providerId="LiveId" clId="{3056F74B-79CF-4229-8BA2-4FA2B4329F51}" dt="2021-09-23T04:23:52.364" v="3421" actId="478"/>
          <ac:spMkLst>
            <pc:docMk/>
            <pc:sldMk cId="2417600701" sldId="2267"/>
            <ac:spMk id="134" creationId="{811BBF82-427A-4000-AD34-45C29B4C2639}"/>
          </ac:spMkLst>
        </pc:spChg>
        <pc:spChg chg="del">
          <ac:chgData name="Aurelien Domont" userId="6da7715ce44349b3" providerId="LiveId" clId="{3056F74B-79CF-4229-8BA2-4FA2B4329F51}" dt="2021-09-23T04:23:52.364" v="3421" actId="478"/>
          <ac:spMkLst>
            <pc:docMk/>
            <pc:sldMk cId="2417600701" sldId="2267"/>
            <ac:spMk id="135" creationId="{8E4A212E-6025-46C2-ACB9-622005CF58FB}"/>
          </ac:spMkLst>
        </pc:spChg>
        <pc:spChg chg="del">
          <ac:chgData name="Aurelien Domont" userId="6da7715ce44349b3" providerId="LiveId" clId="{3056F74B-79CF-4229-8BA2-4FA2B4329F51}" dt="2021-09-23T04:23:52.364" v="3421" actId="478"/>
          <ac:spMkLst>
            <pc:docMk/>
            <pc:sldMk cId="2417600701" sldId="2267"/>
            <ac:spMk id="136" creationId="{BCB09BF4-05CF-4703-B02A-841C87373374}"/>
          </ac:spMkLst>
        </pc:spChg>
        <pc:spChg chg="del">
          <ac:chgData name="Aurelien Domont" userId="6da7715ce44349b3" providerId="LiveId" clId="{3056F74B-79CF-4229-8BA2-4FA2B4329F51}" dt="2021-09-23T04:23:52.364" v="3421" actId="478"/>
          <ac:spMkLst>
            <pc:docMk/>
            <pc:sldMk cId="2417600701" sldId="2267"/>
            <ac:spMk id="137" creationId="{E2727E88-9C6C-4623-BBC9-E73EBCAA528A}"/>
          </ac:spMkLst>
        </pc:spChg>
        <pc:spChg chg="del">
          <ac:chgData name="Aurelien Domont" userId="6da7715ce44349b3" providerId="LiveId" clId="{3056F74B-79CF-4229-8BA2-4FA2B4329F51}" dt="2021-09-23T04:23:52.364" v="3421" actId="478"/>
          <ac:spMkLst>
            <pc:docMk/>
            <pc:sldMk cId="2417600701" sldId="2267"/>
            <ac:spMk id="143" creationId="{32F0C566-7725-4726-AD23-227F464F6A3A}"/>
          </ac:spMkLst>
        </pc:spChg>
        <pc:cxnChg chg="mod">
          <ac:chgData name="Aurelien Domont" userId="6da7715ce44349b3" providerId="LiveId" clId="{3056F74B-79CF-4229-8BA2-4FA2B4329F51}" dt="2021-09-23T04:23:58.702" v="3439" actId="1035"/>
          <ac:cxnSpMkLst>
            <pc:docMk/>
            <pc:sldMk cId="2417600701" sldId="2267"/>
            <ac:cxnSpMk id="91" creationId="{C6B2FD17-5152-440D-9263-CDF1F0DF1963}"/>
          </ac:cxnSpMkLst>
        </pc:cxnChg>
        <pc:cxnChg chg="mod">
          <ac:chgData name="Aurelien Domont" userId="6da7715ce44349b3" providerId="LiveId" clId="{3056F74B-79CF-4229-8BA2-4FA2B4329F51}" dt="2021-09-23T04:23:58.702" v="3439" actId="1035"/>
          <ac:cxnSpMkLst>
            <pc:docMk/>
            <pc:sldMk cId="2417600701" sldId="2267"/>
            <ac:cxnSpMk id="92" creationId="{D8834B92-3834-41F6-AE53-ADBD2438017C}"/>
          </ac:cxnSpMkLst>
        </pc:cxnChg>
        <pc:cxnChg chg="mod">
          <ac:chgData name="Aurelien Domont" userId="6da7715ce44349b3" providerId="LiveId" clId="{3056F74B-79CF-4229-8BA2-4FA2B4329F51}" dt="2021-09-23T04:23:58.702" v="3439" actId="1035"/>
          <ac:cxnSpMkLst>
            <pc:docMk/>
            <pc:sldMk cId="2417600701" sldId="2267"/>
            <ac:cxnSpMk id="93" creationId="{D64383E5-7894-4068-B541-9FBE2E3C1901}"/>
          </ac:cxnSpMkLst>
        </pc:cxnChg>
        <pc:cxnChg chg="mod">
          <ac:chgData name="Aurelien Domont" userId="6da7715ce44349b3" providerId="LiveId" clId="{3056F74B-79CF-4229-8BA2-4FA2B4329F51}" dt="2021-09-23T04:23:58.702" v="3439" actId="1035"/>
          <ac:cxnSpMkLst>
            <pc:docMk/>
            <pc:sldMk cId="2417600701" sldId="2267"/>
            <ac:cxnSpMk id="94" creationId="{303D6ABA-D966-49AC-86D8-C36DDE18981F}"/>
          </ac:cxnSpMkLst>
        </pc:cxnChg>
        <pc:cxnChg chg="mod">
          <ac:chgData name="Aurelien Domont" userId="6da7715ce44349b3" providerId="LiveId" clId="{3056F74B-79CF-4229-8BA2-4FA2B4329F51}" dt="2021-09-23T04:23:58.702" v="3439" actId="1035"/>
          <ac:cxnSpMkLst>
            <pc:docMk/>
            <pc:sldMk cId="2417600701" sldId="2267"/>
            <ac:cxnSpMk id="95" creationId="{6690E34B-0B6B-4989-AF85-209849AF3AEA}"/>
          </ac:cxnSpMkLst>
        </pc:cxnChg>
        <pc:cxnChg chg="del">
          <ac:chgData name="Aurelien Domont" userId="6da7715ce44349b3" providerId="LiveId" clId="{3056F74B-79CF-4229-8BA2-4FA2B4329F51}" dt="2021-09-23T04:23:52.364" v="3421" actId="478"/>
          <ac:cxnSpMkLst>
            <pc:docMk/>
            <pc:sldMk cId="2417600701" sldId="2267"/>
            <ac:cxnSpMk id="131" creationId="{9AB62E3C-1F85-4163-80A0-39F04C13B8AA}"/>
          </ac:cxnSpMkLst>
        </pc:cxnChg>
      </pc:sldChg>
      <pc:sldChg chg="addSp delSp modSp add mod">
        <pc:chgData name="Aurelien Domont" userId="6da7715ce44349b3" providerId="LiveId" clId="{3056F74B-79CF-4229-8BA2-4FA2B4329F51}" dt="2021-09-23T04:25:53.328" v="3494" actId="478"/>
        <pc:sldMkLst>
          <pc:docMk/>
          <pc:sldMk cId="3394476268" sldId="2268"/>
        </pc:sldMkLst>
        <pc:spChg chg="mod">
          <ac:chgData name="Aurelien Domont" userId="6da7715ce44349b3" providerId="LiveId" clId="{3056F74B-79CF-4229-8BA2-4FA2B4329F51}" dt="2021-09-23T04:25:03.177" v="3462" actId="20577"/>
          <ac:spMkLst>
            <pc:docMk/>
            <pc:sldMk cId="3394476268" sldId="2268"/>
            <ac:spMk id="16" creationId="{6C2BB713-9637-4B9B-938F-E9768876782A}"/>
          </ac:spMkLst>
        </pc:spChg>
        <pc:spChg chg="add del mod">
          <ac:chgData name="Aurelien Domont" userId="6da7715ce44349b3" providerId="LiveId" clId="{3056F74B-79CF-4229-8BA2-4FA2B4329F51}" dt="2021-09-23T04:25:53.328" v="3494" actId="478"/>
          <ac:spMkLst>
            <pc:docMk/>
            <pc:sldMk cId="3394476268" sldId="2268"/>
            <ac:spMk id="53" creationId="{A70F6B82-A3AF-475D-80FB-3A506C55706F}"/>
          </ac:spMkLst>
        </pc:spChg>
        <pc:spChg chg="add del mod">
          <ac:chgData name="Aurelien Domont" userId="6da7715ce44349b3" providerId="LiveId" clId="{3056F74B-79CF-4229-8BA2-4FA2B4329F51}" dt="2021-09-23T04:25:53.328" v="3494" actId="478"/>
          <ac:spMkLst>
            <pc:docMk/>
            <pc:sldMk cId="3394476268" sldId="2268"/>
            <ac:spMk id="54" creationId="{327B2D69-8CB9-47B5-A1AB-3A098C838F0B}"/>
          </ac:spMkLst>
        </pc:spChg>
        <pc:spChg chg="add del mod">
          <ac:chgData name="Aurelien Domont" userId="6da7715ce44349b3" providerId="LiveId" clId="{3056F74B-79CF-4229-8BA2-4FA2B4329F51}" dt="2021-09-23T04:25:53.328" v="3494" actId="478"/>
          <ac:spMkLst>
            <pc:docMk/>
            <pc:sldMk cId="3394476268" sldId="2268"/>
            <ac:spMk id="55" creationId="{E01BA500-7C12-4191-8137-12CD40F1152D}"/>
          </ac:spMkLst>
        </pc:spChg>
        <pc:spChg chg="mod">
          <ac:chgData name="Aurelien Domont" userId="6da7715ce44349b3" providerId="LiveId" clId="{3056F74B-79CF-4229-8BA2-4FA2B4329F51}" dt="2021-09-23T04:25:12.016" v="3487" actId="1036"/>
          <ac:spMkLst>
            <pc:docMk/>
            <pc:sldMk cId="3394476268" sldId="2268"/>
            <ac:spMk id="89" creationId="{5293073A-0CB1-404E-A602-3F3B39B206FF}"/>
          </ac:spMkLst>
        </pc:spChg>
        <pc:spChg chg="mod">
          <ac:chgData name="Aurelien Domont" userId="6da7715ce44349b3" providerId="LiveId" clId="{3056F74B-79CF-4229-8BA2-4FA2B4329F51}" dt="2021-09-23T04:25:12.016" v="3487" actId="1036"/>
          <ac:spMkLst>
            <pc:docMk/>
            <pc:sldMk cId="3394476268" sldId="2268"/>
            <ac:spMk id="90" creationId="{02B670F7-7F0D-4044-B54E-60EFA8DE668F}"/>
          </ac:spMkLst>
        </pc:spChg>
        <pc:spChg chg="mod">
          <ac:chgData name="Aurelien Domont" userId="6da7715ce44349b3" providerId="LiveId" clId="{3056F74B-79CF-4229-8BA2-4FA2B4329F51}" dt="2021-09-23T04:25:12.016" v="3487" actId="1036"/>
          <ac:spMkLst>
            <pc:docMk/>
            <pc:sldMk cId="3394476268" sldId="2268"/>
            <ac:spMk id="96" creationId="{C6176997-2C40-4461-B178-9AF06DC7F40E}"/>
          </ac:spMkLst>
        </pc:spChg>
        <pc:spChg chg="mod">
          <ac:chgData name="Aurelien Domont" userId="6da7715ce44349b3" providerId="LiveId" clId="{3056F74B-79CF-4229-8BA2-4FA2B4329F51}" dt="2021-09-23T04:25:12.016" v="3487" actId="1036"/>
          <ac:spMkLst>
            <pc:docMk/>
            <pc:sldMk cId="3394476268" sldId="2268"/>
            <ac:spMk id="97" creationId="{352340E1-6DBB-4431-AD46-6802F240351C}"/>
          </ac:spMkLst>
        </pc:spChg>
        <pc:spChg chg="mod">
          <ac:chgData name="Aurelien Domont" userId="6da7715ce44349b3" providerId="LiveId" clId="{3056F74B-79CF-4229-8BA2-4FA2B4329F51}" dt="2021-09-23T04:25:12.016" v="3487" actId="1036"/>
          <ac:spMkLst>
            <pc:docMk/>
            <pc:sldMk cId="3394476268" sldId="2268"/>
            <ac:spMk id="98" creationId="{F9679BBD-0063-4328-9918-EBF953F9AB7A}"/>
          </ac:spMkLst>
        </pc:spChg>
        <pc:spChg chg="mod">
          <ac:chgData name="Aurelien Domont" userId="6da7715ce44349b3" providerId="LiveId" clId="{3056F74B-79CF-4229-8BA2-4FA2B4329F51}" dt="2021-09-23T04:25:12.016" v="3487" actId="1036"/>
          <ac:spMkLst>
            <pc:docMk/>
            <pc:sldMk cId="3394476268" sldId="2268"/>
            <ac:spMk id="99" creationId="{2DB93F9E-B1C9-4A41-8709-419FF2D61EF5}"/>
          </ac:spMkLst>
        </pc:spChg>
        <pc:spChg chg="mod">
          <ac:chgData name="Aurelien Domont" userId="6da7715ce44349b3" providerId="LiveId" clId="{3056F74B-79CF-4229-8BA2-4FA2B4329F51}" dt="2021-09-23T04:25:12.016" v="3487" actId="1036"/>
          <ac:spMkLst>
            <pc:docMk/>
            <pc:sldMk cId="3394476268" sldId="2268"/>
            <ac:spMk id="100" creationId="{223CD049-E8E0-4E33-884D-DE91B1F5B885}"/>
          </ac:spMkLst>
        </pc:spChg>
        <pc:spChg chg="del">
          <ac:chgData name="Aurelien Domont" userId="6da7715ce44349b3" providerId="LiveId" clId="{3056F74B-79CF-4229-8BA2-4FA2B4329F51}" dt="2021-09-23T04:25:07.089" v="3463" actId="478"/>
          <ac:spMkLst>
            <pc:docMk/>
            <pc:sldMk cId="3394476268" sldId="2268"/>
            <ac:spMk id="101" creationId="{F5340496-77D2-489A-9CC9-A683CD7AEB5C}"/>
          </ac:spMkLst>
        </pc:spChg>
        <pc:spChg chg="mod">
          <ac:chgData name="Aurelien Domont" userId="6da7715ce44349b3" providerId="LiveId" clId="{3056F74B-79CF-4229-8BA2-4FA2B4329F51}" dt="2021-09-23T04:25:12.016" v="3487" actId="1036"/>
          <ac:spMkLst>
            <pc:docMk/>
            <pc:sldMk cId="3394476268" sldId="2268"/>
            <ac:spMk id="102" creationId="{FEA49C4B-4355-421C-A290-1E1A9F96E757}"/>
          </ac:spMkLst>
        </pc:spChg>
        <pc:spChg chg="mod">
          <ac:chgData name="Aurelien Domont" userId="6da7715ce44349b3" providerId="LiveId" clId="{3056F74B-79CF-4229-8BA2-4FA2B4329F51}" dt="2021-09-23T04:25:12.016" v="3487" actId="1036"/>
          <ac:spMkLst>
            <pc:docMk/>
            <pc:sldMk cId="3394476268" sldId="2268"/>
            <ac:spMk id="103" creationId="{5071BEF8-ADB4-47BA-9936-292982348B44}"/>
          </ac:spMkLst>
        </pc:spChg>
        <pc:spChg chg="mod">
          <ac:chgData name="Aurelien Domont" userId="6da7715ce44349b3" providerId="LiveId" clId="{3056F74B-79CF-4229-8BA2-4FA2B4329F51}" dt="2021-09-23T04:25:12.016" v="3487" actId="1036"/>
          <ac:spMkLst>
            <pc:docMk/>
            <pc:sldMk cId="3394476268" sldId="2268"/>
            <ac:spMk id="104" creationId="{2ABE6662-C4E5-435A-9FBA-A82576213985}"/>
          </ac:spMkLst>
        </pc:spChg>
        <pc:spChg chg="mod">
          <ac:chgData name="Aurelien Domont" userId="6da7715ce44349b3" providerId="LiveId" clId="{3056F74B-79CF-4229-8BA2-4FA2B4329F51}" dt="2021-09-23T04:25:12.016" v="3487" actId="1036"/>
          <ac:spMkLst>
            <pc:docMk/>
            <pc:sldMk cId="3394476268" sldId="2268"/>
            <ac:spMk id="105" creationId="{42787DF1-FF33-4A37-BB01-6DF7C908619A}"/>
          </ac:spMkLst>
        </pc:spChg>
        <pc:spChg chg="del">
          <ac:chgData name="Aurelien Domont" userId="6da7715ce44349b3" providerId="LiveId" clId="{3056F74B-79CF-4229-8BA2-4FA2B4329F51}" dt="2021-09-23T04:25:07.089" v="3463" actId="478"/>
          <ac:spMkLst>
            <pc:docMk/>
            <pc:sldMk cId="3394476268" sldId="2268"/>
            <ac:spMk id="106" creationId="{E4572C8A-77D0-479D-B571-A8FCA205A5DE}"/>
          </ac:spMkLst>
        </pc:spChg>
        <pc:spChg chg="del">
          <ac:chgData name="Aurelien Domont" userId="6da7715ce44349b3" providerId="LiveId" clId="{3056F74B-79CF-4229-8BA2-4FA2B4329F51}" dt="2021-09-23T04:25:07.089" v="3463" actId="478"/>
          <ac:spMkLst>
            <pc:docMk/>
            <pc:sldMk cId="3394476268" sldId="2268"/>
            <ac:spMk id="107" creationId="{3A1AC3E7-76BA-4201-BBA6-AFD3EC34233A}"/>
          </ac:spMkLst>
        </pc:spChg>
        <pc:spChg chg="del">
          <ac:chgData name="Aurelien Domont" userId="6da7715ce44349b3" providerId="LiveId" clId="{3056F74B-79CF-4229-8BA2-4FA2B4329F51}" dt="2021-09-23T04:25:07.089" v="3463" actId="478"/>
          <ac:spMkLst>
            <pc:docMk/>
            <pc:sldMk cId="3394476268" sldId="2268"/>
            <ac:spMk id="108" creationId="{D3B3728B-1385-4E51-9BEC-BBF7223B0AEC}"/>
          </ac:spMkLst>
        </pc:spChg>
        <pc:spChg chg="del">
          <ac:chgData name="Aurelien Domont" userId="6da7715ce44349b3" providerId="LiveId" clId="{3056F74B-79CF-4229-8BA2-4FA2B4329F51}" dt="2021-09-23T04:25:07.089" v="3463" actId="478"/>
          <ac:spMkLst>
            <pc:docMk/>
            <pc:sldMk cId="3394476268" sldId="2268"/>
            <ac:spMk id="109" creationId="{89EB07F8-0F20-43FF-9102-72A68DBDBFAA}"/>
          </ac:spMkLst>
        </pc:spChg>
        <pc:spChg chg="del">
          <ac:chgData name="Aurelien Domont" userId="6da7715ce44349b3" providerId="LiveId" clId="{3056F74B-79CF-4229-8BA2-4FA2B4329F51}" dt="2021-09-23T04:25:07.089" v="3463" actId="478"/>
          <ac:spMkLst>
            <pc:docMk/>
            <pc:sldMk cId="3394476268" sldId="2268"/>
            <ac:spMk id="110" creationId="{2B8FC0A1-1AEE-4B61-A4FC-9668CB419C6A}"/>
          </ac:spMkLst>
        </pc:spChg>
        <pc:spChg chg="mod">
          <ac:chgData name="Aurelien Domont" userId="6da7715ce44349b3" providerId="LiveId" clId="{3056F74B-79CF-4229-8BA2-4FA2B4329F51}" dt="2021-09-23T04:25:12.016" v="3487" actId="1036"/>
          <ac:spMkLst>
            <pc:docMk/>
            <pc:sldMk cId="3394476268" sldId="2268"/>
            <ac:spMk id="111" creationId="{8D24E98D-6ECF-4046-8BAF-FAA13A8FF0AD}"/>
          </ac:spMkLst>
        </pc:spChg>
        <pc:spChg chg="mod">
          <ac:chgData name="Aurelien Domont" userId="6da7715ce44349b3" providerId="LiveId" clId="{3056F74B-79CF-4229-8BA2-4FA2B4329F51}" dt="2021-09-23T04:25:12.016" v="3487" actId="1036"/>
          <ac:spMkLst>
            <pc:docMk/>
            <pc:sldMk cId="3394476268" sldId="2268"/>
            <ac:spMk id="112" creationId="{98F05424-B13F-4BDB-835C-583ED534D4D4}"/>
          </ac:spMkLst>
        </pc:spChg>
        <pc:spChg chg="mod">
          <ac:chgData name="Aurelien Domont" userId="6da7715ce44349b3" providerId="LiveId" clId="{3056F74B-79CF-4229-8BA2-4FA2B4329F51}" dt="2021-09-23T04:25:12.016" v="3487" actId="1036"/>
          <ac:spMkLst>
            <pc:docMk/>
            <pc:sldMk cId="3394476268" sldId="2268"/>
            <ac:spMk id="113" creationId="{5026139C-13A7-44CE-B088-B8A20F0DB682}"/>
          </ac:spMkLst>
        </pc:spChg>
        <pc:spChg chg="mod">
          <ac:chgData name="Aurelien Domont" userId="6da7715ce44349b3" providerId="LiveId" clId="{3056F74B-79CF-4229-8BA2-4FA2B4329F51}" dt="2021-09-23T04:25:12.016" v="3487" actId="1036"/>
          <ac:spMkLst>
            <pc:docMk/>
            <pc:sldMk cId="3394476268" sldId="2268"/>
            <ac:spMk id="114" creationId="{B3D9AAC7-8BE5-4992-B78F-5D017C1F9202}"/>
          </ac:spMkLst>
        </pc:spChg>
        <pc:spChg chg="mod">
          <ac:chgData name="Aurelien Domont" userId="6da7715ce44349b3" providerId="LiveId" clId="{3056F74B-79CF-4229-8BA2-4FA2B4329F51}" dt="2021-09-23T04:25:12.016" v="3487" actId="1036"/>
          <ac:spMkLst>
            <pc:docMk/>
            <pc:sldMk cId="3394476268" sldId="2268"/>
            <ac:spMk id="115" creationId="{4204758A-081B-4AE9-9257-5D7CBC03365E}"/>
          </ac:spMkLst>
        </pc:spChg>
        <pc:spChg chg="mod">
          <ac:chgData name="Aurelien Domont" userId="6da7715ce44349b3" providerId="LiveId" clId="{3056F74B-79CF-4229-8BA2-4FA2B4329F51}" dt="2021-09-23T04:25:12.016" v="3487" actId="1036"/>
          <ac:spMkLst>
            <pc:docMk/>
            <pc:sldMk cId="3394476268" sldId="2268"/>
            <ac:spMk id="116" creationId="{AA2F3C75-5182-463C-BA75-F2C7B7BEB22F}"/>
          </ac:spMkLst>
        </pc:spChg>
        <pc:spChg chg="mod">
          <ac:chgData name="Aurelien Domont" userId="6da7715ce44349b3" providerId="LiveId" clId="{3056F74B-79CF-4229-8BA2-4FA2B4329F51}" dt="2021-09-23T04:25:12.016" v="3487" actId="1036"/>
          <ac:spMkLst>
            <pc:docMk/>
            <pc:sldMk cId="3394476268" sldId="2268"/>
            <ac:spMk id="117" creationId="{FF1EE458-03D0-4B0E-9758-8DB61B60B3B7}"/>
          </ac:spMkLst>
        </pc:spChg>
        <pc:spChg chg="mod">
          <ac:chgData name="Aurelien Domont" userId="6da7715ce44349b3" providerId="LiveId" clId="{3056F74B-79CF-4229-8BA2-4FA2B4329F51}" dt="2021-09-23T04:25:12.016" v="3487" actId="1036"/>
          <ac:spMkLst>
            <pc:docMk/>
            <pc:sldMk cId="3394476268" sldId="2268"/>
            <ac:spMk id="118" creationId="{528607E0-9375-4ED8-B65A-3F9BE7B1B233}"/>
          </ac:spMkLst>
        </pc:spChg>
        <pc:spChg chg="mod">
          <ac:chgData name="Aurelien Domont" userId="6da7715ce44349b3" providerId="LiveId" clId="{3056F74B-79CF-4229-8BA2-4FA2B4329F51}" dt="2021-09-23T04:25:12.016" v="3487" actId="1036"/>
          <ac:spMkLst>
            <pc:docMk/>
            <pc:sldMk cId="3394476268" sldId="2268"/>
            <ac:spMk id="119" creationId="{E83E37CE-34FB-4D9F-8A52-D60686053F2A}"/>
          </ac:spMkLst>
        </pc:spChg>
        <pc:spChg chg="del">
          <ac:chgData name="Aurelien Domont" userId="6da7715ce44349b3" providerId="LiveId" clId="{3056F74B-79CF-4229-8BA2-4FA2B4329F51}" dt="2021-09-23T04:25:07.089" v="3463" actId="478"/>
          <ac:spMkLst>
            <pc:docMk/>
            <pc:sldMk cId="3394476268" sldId="2268"/>
            <ac:spMk id="120" creationId="{1AC3F6D1-53AA-4932-8CE5-4062DC55CC05}"/>
          </ac:spMkLst>
        </pc:spChg>
        <pc:spChg chg="del">
          <ac:chgData name="Aurelien Domont" userId="6da7715ce44349b3" providerId="LiveId" clId="{3056F74B-79CF-4229-8BA2-4FA2B4329F51}" dt="2021-09-23T04:25:07.089" v="3463" actId="478"/>
          <ac:spMkLst>
            <pc:docMk/>
            <pc:sldMk cId="3394476268" sldId="2268"/>
            <ac:spMk id="121" creationId="{418421F0-20E9-4344-B118-A0E261E35CB0}"/>
          </ac:spMkLst>
        </pc:spChg>
        <pc:spChg chg="del">
          <ac:chgData name="Aurelien Domont" userId="6da7715ce44349b3" providerId="LiveId" clId="{3056F74B-79CF-4229-8BA2-4FA2B4329F51}" dt="2021-09-23T04:25:07.089" v="3463" actId="478"/>
          <ac:spMkLst>
            <pc:docMk/>
            <pc:sldMk cId="3394476268" sldId="2268"/>
            <ac:spMk id="122" creationId="{549B8614-70B8-42E1-8719-39E21E31475E}"/>
          </ac:spMkLst>
        </pc:spChg>
        <pc:spChg chg="del">
          <ac:chgData name="Aurelien Domont" userId="6da7715ce44349b3" providerId="LiveId" clId="{3056F74B-79CF-4229-8BA2-4FA2B4329F51}" dt="2021-09-23T04:25:07.089" v="3463" actId="478"/>
          <ac:spMkLst>
            <pc:docMk/>
            <pc:sldMk cId="3394476268" sldId="2268"/>
            <ac:spMk id="123" creationId="{0172EE7A-8B95-47EE-ADE6-9950FDDDBD6D}"/>
          </ac:spMkLst>
        </pc:spChg>
        <pc:spChg chg="del">
          <ac:chgData name="Aurelien Domont" userId="6da7715ce44349b3" providerId="LiveId" clId="{3056F74B-79CF-4229-8BA2-4FA2B4329F51}" dt="2021-09-23T04:25:07.089" v="3463" actId="478"/>
          <ac:spMkLst>
            <pc:docMk/>
            <pc:sldMk cId="3394476268" sldId="2268"/>
            <ac:spMk id="124" creationId="{8BC50B2F-FFD8-414B-824C-AA5DBBA53B5C}"/>
          </ac:spMkLst>
        </pc:spChg>
        <pc:spChg chg="del">
          <ac:chgData name="Aurelien Domont" userId="6da7715ce44349b3" providerId="LiveId" clId="{3056F74B-79CF-4229-8BA2-4FA2B4329F51}" dt="2021-09-23T04:25:07.089" v="3463" actId="478"/>
          <ac:spMkLst>
            <pc:docMk/>
            <pc:sldMk cId="3394476268" sldId="2268"/>
            <ac:spMk id="125" creationId="{351FEB5A-210C-40B5-90B7-52DADD38FA94}"/>
          </ac:spMkLst>
        </pc:spChg>
        <pc:spChg chg="mod">
          <ac:chgData name="Aurelien Domont" userId="6da7715ce44349b3" providerId="LiveId" clId="{3056F74B-79CF-4229-8BA2-4FA2B4329F51}" dt="2021-09-23T04:25:23.343" v="3491"/>
          <ac:spMkLst>
            <pc:docMk/>
            <pc:sldMk cId="3394476268" sldId="2268"/>
            <ac:spMk id="126" creationId="{62880837-2C43-40E8-9AF6-B862401777E2}"/>
          </ac:spMkLst>
        </pc:spChg>
        <pc:spChg chg="mod">
          <ac:chgData name="Aurelien Domont" userId="6da7715ce44349b3" providerId="LiveId" clId="{3056F74B-79CF-4229-8BA2-4FA2B4329F51}" dt="2021-09-23T04:25:26.990" v="3492"/>
          <ac:spMkLst>
            <pc:docMk/>
            <pc:sldMk cId="3394476268" sldId="2268"/>
            <ac:spMk id="127" creationId="{9D8C6FBA-53B5-4F81-A74B-1E8F9A7484FB}"/>
          </ac:spMkLst>
        </pc:spChg>
        <pc:spChg chg="mod">
          <ac:chgData name="Aurelien Domont" userId="6da7715ce44349b3" providerId="LiveId" clId="{3056F74B-79CF-4229-8BA2-4FA2B4329F51}" dt="2021-09-23T04:25:30.032" v="3493"/>
          <ac:spMkLst>
            <pc:docMk/>
            <pc:sldMk cId="3394476268" sldId="2268"/>
            <ac:spMk id="128" creationId="{71CE224F-9636-4E50-9853-22A0052BD165}"/>
          </ac:spMkLst>
        </pc:spChg>
        <pc:spChg chg="del">
          <ac:chgData name="Aurelien Domont" userId="6da7715ce44349b3" providerId="LiveId" clId="{3056F74B-79CF-4229-8BA2-4FA2B4329F51}" dt="2021-09-23T04:25:07.089" v="3463" actId="478"/>
          <ac:spMkLst>
            <pc:docMk/>
            <pc:sldMk cId="3394476268" sldId="2268"/>
            <ac:spMk id="129" creationId="{706028E1-F1CE-49C0-B366-83E32F82CDC9}"/>
          </ac:spMkLst>
        </pc:spChg>
        <pc:spChg chg="del">
          <ac:chgData name="Aurelien Domont" userId="6da7715ce44349b3" providerId="LiveId" clId="{3056F74B-79CF-4229-8BA2-4FA2B4329F51}" dt="2021-09-23T04:25:07.089" v="3463" actId="478"/>
          <ac:spMkLst>
            <pc:docMk/>
            <pc:sldMk cId="3394476268" sldId="2268"/>
            <ac:spMk id="130" creationId="{0176836C-62DF-4238-BF60-E3EC060D49DE}"/>
          </ac:spMkLst>
        </pc:spChg>
        <pc:cxnChg chg="mod">
          <ac:chgData name="Aurelien Domont" userId="6da7715ce44349b3" providerId="LiveId" clId="{3056F74B-79CF-4229-8BA2-4FA2B4329F51}" dt="2021-09-23T04:25:12.016" v="3487" actId="1036"/>
          <ac:cxnSpMkLst>
            <pc:docMk/>
            <pc:sldMk cId="3394476268" sldId="2268"/>
            <ac:cxnSpMk id="91" creationId="{C6B2FD17-5152-440D-9263-CDF1F0DF1963}"/>
          </ac:cxnSpMkLst>
        </pc:cxnChg>
        <pc:cxnChg chg="mod">
          <ac:chgData name="Aurelien Domont" userId="6da7715ce44349b3" providerId="LiveId" clId="{3056F74B-79CF-4229-8BA2-4FA2B4329F51}" dt="2021-09-23T04:25:12.016" v="3487" actId="1036"/>
          <ac:cxnSpMkLst>
            <pc:docMk/>
            <pc:sldMk cId="3394476268" sldId="2268"/>
            <ac:cxnSpMk id="92" creationId="{D8834B92-3834-41F6-AE53-ADBD2438017C}"/>
          </ac:cxnSpMkLst>
        </pc:cxnChg>
        <pc:cxnChg chg="mod">
          <ac:chgData name="Aurelien Domont" userId="6da7715ce44349b3" providerId="LiveId" clId="{3056F74B-79CF-4229-8BA2-4FA2B4329F51}" dt="2021-09-23T04:25:12.016" v="3487" actId="1036"/>
          <ac:cxnSpMkLst>
            <pc:docMk/>
            <pc:sldMk cId="3394476268" sldId="2268"/>
            <ac:cxnSpMk id="93" creationId="{D64383E5-7894-4068-B541-9FBE2E3C1901}"/>
          </ac:cxnSpMkLst>
        </pc:cxnChg>
        <pc:cxnChg chg="del">
          <ac:chgData name="Aurelien Domont" userId="6da7715ce44349b3" providerId="LiveId" clId="{3056F74B-79CF-4229-8BA2-4FA2B4329F51}" dt="2021-09-23T04:25:07.089" v="3463" actId="478"/>
          <ac:cxnSpMkLst>
            <pc:docMk/>
            <pc:sldMk cId="3394476268" sldId="2268"/>
            <ac:cxnSpMk id="94" creationId="{303D6ABA-D966-49AC-86D8-C36DDE18981F}"/>
          </ac:cxnSpMkLst>
        </pc:cxnChg>
        <pc:cxnChg chg="del">
          <ac:chgData name="Aurelien Domont" userId="6da7715ce44349b3" providerId="LiveId" clId="{3056F74B-79CF-4229-8BA2-4FA2B4329F51}" dt="2021-09-23T04:25:07.089" v="3463" actId="478"/>
          <ac:cxnSpMkLst>
            <pc:docMk/>
            <pc:sldMk cId="3394476268" sldId="2268"/>
            <ac:cxnSpMk id="95" creationId="{6690E34B-0B6B-4989-AF85-209849AF3AEA}"/>
          </ac:cxnSpMkLst>
        </pc:cxnChg>
      </pc:sldChg>
      <pc:sldChg chg="addSp delSp modSp add mod">
        <pc:chgData name="Aurelien Domont" userId="6da7715ce44349b3" providerId="LiveId" clId="{3056F74B-79CF-4229-8BA2-4FA2B4329F51}" dt="2021-09-23T04:26:45.462" v="3510" actId="478"/>
        <pc:sldMkLst>
          <pc:docMk/>
          <pc:sldMk cId="2046597082" sldId="2269"/>
        </pc:sldMkLst>
        <pc:spChg chg="mod">
          <ac:chgData name="Aurelien Domont" userId="6da7715ce44349b3" providerId="LiveId" clId="{3056F74B-79CF-4229-8BA2-4FA2B4329F51}" dt="2021-09-23T04:26:20.155" v="3503" actId="20577"/>
          <ac:spMkLst>
            <pc:docMk/>
            <pc:sldMk cId="2046597082" sldId="2269"/>
            <ac:spMk id="16" creationId="{6C2BB713-9637-4B9B-938F-E9768876782A}"/>
          </ac:spMkLst>
        </pc:spChg>
        <pc:spChg chg="add del mod">
          <ac:chgData name="Aurelien Domont" userId="6da7715ce44349b3" providerId="LiveId" clId="{3056F74B-79CF-4229-8BA2-4FA2B4329F51}" dt="2021-09-23T04:26:45.462" v="3510" actId="478"/>
          <ac:spMkLst>
            <pc:docMk/>
            <pc:sldMk cId="2046597082" sldId="2269"/>
            <ac:spMk id="37" creationId="{61F4E1D4-7F44-48CE-A0D5-AAEB4C44272A}"/>
          </ac:spMkLst>
        </pc:spChg>
        <pc:spChg chg="add del mod">
          <ac:chgData name="Aurelien Domont" userId="6da7715ce44349b3" providerId="LiveId" clId="{3056F74B-79CF-4229-8BA2-4FA2B4329F51}" dt="2021-09-23T04:26:45.462" v="3510" actId="478"/>
          <ac:spMkLst>
            <pc:docMk/>
            <pc:sldMk cId="2046597082" sldId="2269"/>
            <ac:spMk id="38" creationId="{124CF028-4328-4366-B145-572BB20F398A}"/>
          </ac:spMkLst>
        </pc:spChg>
        <pc:spChg chg="add del mod">
          <ac:chgData name="Aurelien Domont" userId="6da7715ce44349b3" providerId="LiveId" clId="{3056F74B-79CF-4229-8BA2-4FA2B4329F51}" dt="2021-09-23T04:26:45.462" v="3510" actId="478"/>
          <ac:spMkLst>
            <pc:docMk/>
            <pc:sldMk cId="2046597082" sldId="2269"/>
            <ac:spMk id="39" creationId="{55BABCF4-C24A-49A3-AE21-51791126CDC1}"/>
          </ac:spMkLst>
        </pc:spChg>
        <pc:spChg chg="mod">
          <ac:chgData name="Aurelien Domont" userId="6da7715ce44349b3" providerId="LiveId" clId="{3056F74B-79CF-4229-8BA2-4FA2B4329F51}" dt="2021-09-23T04:26:36.758" v="3507"/>
          <ac:spMkLst>
            <pc:docMk/>
            <pc:sldMk cId="2046597082" sldId="2269"/>
            <ac:spMk id="126" creationId="{62880837-2C43-40E8-9AF6-B862401777E2}"/>
          </ac:spMkLst>
        </pc:spChg>
        <pc:spChg chg="mod">
          <ac:chgData name="Aurelien Domont" userId="6da7715ce44349b3" providerId="LiveId" clId="{3056F74B-79CF-4229-8BA2-4FA2B4329F51}" dt="2021-09-23T04:26:39.880" v="3508"/>
          <ac:spMkLst>
            <pc:docMk/>
            <pc:sldMk cId="2046597082" sldId="2269"/>
            <ac:spMk id="127" creationId="{9D8C6FBA-53B5-4F81-A74B-1E8F9A7484FB}"/>
          </ac:spMkLst>
        </pc:spChg>
        <pc:spChg chg="mod">
          <ac:chgData name="Aurelien Domont" userId="6da7715ce44349b3" providerId="LiveId" clId="{3056F74B-79CF-4229-8BA2-4FA2B4329F51}" dt="2021-09-23T04:26:42.676" v="3509"/>
          <ac:spMkLst>
            <pc:docMk/>
            <pc:sldMk cId="2046597082" sldId="2269"/>
            <ac:spMk id="128" creationId="{71CE224F-9636-4E50-9853-22A0052BD165}"/>
          </ac:spMkLst>
        </pc:spChg>
      </pc:sldChg>
      <pc:sldChg chg="addSp delSp modSp add mod">
        <pc:chgData name="Aurelien Domont" userId="6da7715ce44349b3" providerId="LiveId" clId="{3056F74B-79CF-4229-8BA2-4FA2B4329F51}" dt="2021-09-23T04:27:39.248" v="3554" actId="1036"/>
        <pc:sldMkLst>
          <pc:docMk/>
          <pc:sldMk cId="2892163911" sldId="2270"/>
        </pc:sldMkLst>
        <pc:spChg chg="mod">
          <ac:chgData name="Aurelien Domont" userId="6da7715ce44349b3" providerId="LiveId" clId="{3056F74B-79CF-4229-8BA2-4FA2B4329F51}" dt="2021-09-23T04:27:05.127" v="3531" actId="20577"/>
          <ac:spMkLst>
            <pc:docMk/>
            <pc:sldMk cId="2892163911" sldId="2270"/>
            <ac:spMk id="16" creationId="{6C2BB713-9637-4B9B-938F-E9768876782A}"/>
          </ac:spMkLst>
        </pc:spChg>
        <pc:spChg chg="add del mod">
          <ac:chgData name="Aurelien Domont" userId="6da7715ce44349b3" providerId="LiveId" clId="{3056F74B-79CF-4229-8BA2-4FA2B4329F51}" dt="2021-09-23T04:27:35.885" v="3540" actId="478"/>
          <ac:spMkLst>
            <pc:docMk/>
            <pc:sldMk cId="2892163911" sldId="2270"/>
            <ac:spMk id="53" creationId="{EE0F20D5-2F3A-4C5C-B1FD-259F69288891}"/>
          </ac:spMkLst>
        </pc:spChg>
        <pc:spChg chg="add del mod">
          <ac:chgData name="Aurelien Domont" userId="6da7715ce44349b3" providerId="LiveId" clId="{3056F74B-79CF-4229-8BA2-4FA2B4329F51}" dt="2021-09-23T04:27:35.885" v="3540" actId="478"/>
          <ac:spMkLst>
            <pc:docMk/>
            <pc:sldMk cId="2892163911" sldId="2270"/>
            <ac:spMk id="54" creationId="{1B251450-F2D5-480F-BD23-5AADE2D11FB1}"/>
          </ac:spMkLst>
        </pc:spChg>
        <pc:spChg chg="add del mod">
          <ac:chgData name="Aurelien Domont" userId="6da7715ce44349b3" providerId="LiveId" clId="{3056F74B-79CF-4229-8BA2-4FA2B4329F51}" dt="2021-09-23T04:27:35.885" v="3540" actId="478"/>
          <ac:spMkLst>
            <pc:docMk/>
            <pc:sldMk cId="2892163911" sldId="2270"/>
            <ac:spMk id="55" creationId="{D0188233-5DDE-4CD4-A084-A6DFAE08C210}"/>
          </ac:spMkLst>
        </pc:spChg>
        <pc:spChg chg="add del mod">
          <ac:chgData name="Aurelien Domont" userId="6da7715ce44349b3" providerId="LiveId" clId="{3056F74B-79CF-4229-8BA2-4FA2B4329F51}" dt="2021-09-23T04:27:35.885" v="3540" actId="478"/>
          <ac:spMkLst>
            <pc:docMk/>
            <pc:sldMk cId="2892163911" sldId="2270"/>
            <ac:spMk id="56" creationId="{5E44E53D-AC3C-44C4-AA1B-4ED63F5A3B95}"/>
          </ac:spMkLst>
        </pc:spChg>
        <pc:spChg chg="mod">
          <ac:chgData name="Aurelien Domont" userId="6da7715ce44349b3" providerId="LiveId" clId="{3056F74B-79CF-4229-8BA2-4FA2B4329F51}" dt="2021-09-23T04:27:39.248" v="3554" actId="1036"/>
          <ac:spMkLst>
            <pc:docMk/>
            <pc:sldMk cId="2892163911" sldId="2270"/>
            <ac:spMk id="89" creationId="{5293073A-0CB1-404E-A602-3F3B39B206FF}"/>
          </ac:spMkLst>
        </pc:spChg>
        <pc:spChg chg="mod">
          <ac:chgData name="Aurelien Domont" userId="6da7715ce44349b3" providerId="LiveId" clId="{3056F74B-79CF-4229-8BA2-4FA2B4329F51}" dt="2021-09-23T04:27:39.248" v="3554" actId="1036"/>
          <ac:spMkLst>
            <pc:docMk/>
            <pc:sldMk cId="2892163911" sldId="2270"/>
            <ac:spMk id="90" creationId="{02B670F7-7F0D-4044-B54E-60EFA8DE668F}"/>
          </ac:spMkLst>
        </pc:spChg>
        <pc:spChg chg="mod">
          <ac:chgData name="Aurelien Domont" userId="6da7715ce44349b3" providerId="LiveId" clId="{3056F74B-79CF-4229-8BA2-4FA2B4329F51}" dt="2021-09-23T04:27:39.248" v="3554" actId="1036"/>
          <ac:spMkLst>
            <pc:docMk/>
            <pc:sldMk cId="2892163911" sldId="2270"/>
            <ac:spMk id="96" creationId="{C6176997-2C40-4461-B178-9AF06DC7F40E}"/>
          </ac:spMkLst>
        </pc:spChg>
        <pc:spChg chg="mod">
          <ac:chgData name="Aurelien Domont" userId="6da7715ce44349b3" providerId="LiveId" clId="{3056F74B-79CF-4229-8BA2-4FA2B4329F51}" dt="2021-09-23T04:27:39.248" v="3554" actId="1036"/>
          <ac:spMkLst>
            <pc:docMk/>
            <pc:sldMk cId="2892163911" sldId="2270"/>
            <ac:spMk id="97" creationId="{352340E1-6DBB-4431-AD46-6802F240351C}"/>
          </ac:spMkLst>
        </pc:spChg>
        <pc:spChg chg="mod">
          <ac:chgData name="Aurelien Domont" userId="6da7715ce44349b3" providerId="LiveId" clId="{3056F74B-79CF-4229-8BA2-4FA2B4329F51}" dt="2021-09-23T04:27:39.248" v="3554" actId="1036"/>
          <ac:spMkLst>
            <pc:docMk/>
            <pc:sldMk cId="2892163911" sldId="2270"/>
            <ac:spMk id="98" creationId="{F9679BBD-0063-4328-9918-EBF953F9AB7A}"/>
          </ac:spMkLst>
        </pc:spChg>
        <pc:spChg chg="mod">
          <ac:chgData name="Aurelien Domont" userId="6da7715ce44349b3" providerId="LiveId" clId="{3056F74B-79CF-4229-8BA2-4FA2B4329F51}" dt="2021-09-23T04:27:39.248" v="3554" actId="1036"/>
          <ac:spMkLst>
            <pc:docMk/>
            <pc:sldMk cId="2892163911" sldId="2270"/>
            <ac:spMk id="99" creationId="{2DB93F9E-B1C9-4A41-8709-419FF2D61EF5}"/>
          </ac:spMkLst>
        </pc:spChg>
        <pc:spChg chg="mod">
          <ac:chgData name="Aurelien Domont" userId="6da7715ce44349b3" providerId="LiveId" clId="{3056F74B-79CF-4229-8BA2-4FA2B4329F51}" dt="2021-09-23T04:27:39.248" v="3554" actId="1036"/>
          <ac:spMkLst>
            <pc:docMk/>
            <pc:sldMk cId="2892163911" sldId="2270"/>
            <ac:spMk id="100" creationId="{223CD049-E8E0-4E33-884D-DE91B1F5B885}"/>
          </ac:spMkLst>
        </pc:spChg>
        <pc:spChg chg="mod">
          <ac:chgData name="Aurelien Domont" userId="6da7715ce44349b3" providerId="LiveId" clId="{3056F74B-79CF-4229-8BA2-4FA2B4329F51}" dt="2021-09-23T04:27:39.248" v="3554" actId="1036"/>
          <ac:spMkLst>
            <pc:docMk/>
            <pc:sldMk cId="2892163911" sldId="2270"/>
            <ac:spMk id="101" creationId="{F5340496-77D2-489A-9CC9-A683CD7AEB5C}"/>
          </ac:spMkLst>
        </pc:spChg>
        <pc:spChg chg="mod">
          <ac:chgData name="Aurelien Domont" userId="6da7715ce44349b3" providerId="LiveId" clId="{3056F74B-79CF-4229-8BA2-4FA2B4329F51}" dt="2021-09-23T04:27:39.248" v="3554" actId="1036"/>
          <ac:spMkLst>
            <pc:docMk/>
            <pc:sldMk cId="2892163911" sldId="2270"/>
            <ac:spMk id="102" creationId="{FEA49C4B-4355-421C-A290-1E1A9F96E757}"/>
          </ac:spMkLst>
        </pc:spChg>
        <pc:spChg chg="mod">
          <ac:chgData name="Aurelien Domont" userId="6da7715ce44349b3" providerId="LiveId" clId="{3056F74B-79CF-4229-8BA2-4FA2B4329F51}" dt="2021-09-23T04:27:39.248" v="3554" actId="1036"/>
          <ac:spMkLst>
            <pc:docMk/>
            <pc:sldMk cId="2892163911" sldId="2270"/>
            <ac:spMk id="103" creationId="{5071BEF8-ADB4-47BA-9936-292982348B44}"/>
          </ac:spMkLst>
        </pc:spChg>
        <pc:spChg chg="mod">
          <ac:chgData name="Aurelien Domont" userId="6da7715ce44349b3" providerId="LiveId" clId="{3056F74B-79CF-4229-8BA2-4FA2B4329F51}" dt="2021-09-23T04:27:39.248" v="3554" actId="1036"/>
          <ac:spMkLst>
            <pc:docMk/>
            <pc:sldMk cId="2892163911" sldId="2270"/>
            <ac:spMk id="104" creationId="{2ABE6662-C4E5-435A-9FBA-A82576213985}"/>
          </ac:spMkLst>
        </pc:spChg>
        <pc:spChg chg="mod">
          <ac:chgData name="Aurelien Domont" userId="6da7715ce44349b3" providerId="LiveId" clId="{3056F74B-79CF-4229-8BA2-4FA2B4329F51}" dt="2021-09-23T04:27:39.248" v="3554" actId="1036"/>
          <ac:spMkLst>
            <pc:docMk/>
            <pc:sldMk cId="2892163911" sldId="2270"/>
            <ac:spMk id="105" creationId="{42787DF1-FF33-4A37-BB01-6DF7C908619A}"/>
          </ac:spMkLst>
        </pc:spChg>
        <pc:spChg chg="mod">
          <ac:chgData name="Aurelien Domont" userId="6da7715ce44349b3" providerId="LiveId" clId="{3056F74B-79CF-4229-8BA2-4FA2B4329F51}" dt="2021-09-23T04:27:39.248" v="3554" actId="1036"/>
          <ac:spMkLst>
            <pc:docMk/>
            <pc:sldMk cId="2892163911" sldId="2270"/>
            <ac:spMk id="106" creationId="{E4572C8A-77D0-479D-B571-A8FCA205A5DE}"/>
          </ac:spMkLst>
        </pc:spChg>
        <pc:spChg chg="mod">
          <ac:chgData name="Aurelien Domont" userId="6da7715ce44349b3" providerId="LiveId" clId="{3056F74B-79CF-4229-8BA2-4FA2B4329F51}" dt="2021-09-23T04:27:39.248" v="3554" actId="1036"/>
          <ac:spMkLst>
            <pc:docMk/>
            <pc:sldMk cId="2892163911" sldId="2270"/>
            <ac:spMk id="107" creationId="{3A1AC3E7-76BA-4201-BBA6-AFD3EC34233A}"/>
          </ac:spMkLst>
        </pc:spChg>
        <pc:spChg chg="del">
          <ac:chgData name="Aurelien Domont" userId="6da7715ce44349b3" providerId="LiveId" clId="{3056F74B-79CF-4229-8BA2-4FA2B4329F51}" dt="2021-09-23T04:27:33.087" v="3539" actId="478"/>
          <ac:spMkLst>
            <pc:docMk/>
            <pc:sldMk cId="2892163911" sldId="2270"/>
            <ac:spMk id="108" creationId="{D3B3728B-1385-4E51-9BEC-BBF7223B0AEC}"/>
          </ac:spMkLst>
        </pc:spChg>
        <pc:spChg chg="del">
          <ac:chgData name="Aurelien Domont" userId="6da7715ce44349b3" providerId="LiveId" clId="{3056F74B-79CF-4229-8BA2-4FA2B4329F51}" dt="2021-09-23T04:27:33.087" v="3539" actId="478"/>
          <ac:spMkLst>
            <pc:docMk/>
            <pc:sldMk cId="2892163911" sldId="2270"/>
            <ac:spMk id="109" creationId="{89EB07F8-0F20-43FF-9102-72A68DBDBFAA}"/>
          </ac:spMkLst>
        </pc:spChg>
        <pc:spChg chg="del">
          <ac:chgData name="Aurelien Domont" userId="6da7715ce44349b3" providerId="LiveId" clId="{3056F74B-79CF-4229-8BA2-4FA2B4329F51}" dt="2021-09-23T04:27:33.087" v="3539" actId="478"/>
          <ac:spMkLst>
            <pc:docMk/>
            <pc:sldMk cId="2892163911" sldId="2270"/>
            <ac:spMk id="110" creationId="{2B8FC0A1-1AEE-4B61-A4FC-9668CB419C6A}"/>
          </ac:spMkLst>
        </pc:spChg>
        <pc:spChg chg="mod">
          <ac:chgData name="Aurelien Domont" userId="6da7715ce44349b3" providerId="LiveId" clId="{3056F74B-79CF-4229-8BA2-4FA2B4329F51}" dt="2021-09-23T04:27:39.248" v="3554" actId="1036"/>
          <ac:spMkLst>
            <pc:docMk/>
            <pc:sldMk cId="2892163911" sldId="2270"/>
            <ac:spMk id="111" creationId="{8D24E98D-6ECF-4046-8BAF-FAA13A8FF0AD}"/>
          </ac:spMkLst>
        </pc:spChg>
        <pc:spChg chg="mod">
          <ac:chgData name="Aurelien Domont" userId="6da7715ce44349b3" providerId="LiveId" clId="{3056F74B-79CF-4229-8BA2-4FA2B4329F51}" dt="2021-09-23T04:27:39.248" v="3554" actId="1036"/>
          <ac:spMkLst>
            <pc:docMk/>
            <pc:sldMk cId="2892163911" sldId="2270"/>
            <ac:spMk id="112" creationId="{98F05424-B13F-4BDB-835C-583ED534D4D4}"/>
          </ac:spMkLst>
        </pc:spChg>
        <pc:spChg chg="mod">
          <ac:chgData name="Aurelien Domont" userId="6da7715ce44349b3" providerId="LiveId" clId="{3056F74B-79CF-4229-8BA2-4FA2B4329F51}" dt="2021-09-23T04:27:39.248" v="3554" actId="1036"/>
          <ac:spMkLst>
            <pc:docMk/>
            <pc:sldMk cId="2892163911" sldId="2270"/>
            <ac:spMk id="113" creationId="{5026139C-13A7-44CE-B088-B8A20F0DB682}"/>
          </ac:spMkLst>
        </pc:spChg>
        <pc:spChg chg="mod">
          <ac:chgData name="Aurelien Domont" userId="6da7715ce44349b3" providerId="LiveId" clId="{3056F74B-79CF-4229-8BA2-4FA2B4329F51}" dt="2021-09-23T04:27:39.248" v="3554" actId="1036"/>
          <ac:spMkLst>
            <pc:docMk/>
            <pc:sldMk cId="2892163911" sldId="2270"/>
            <ac:spMk id="114" creationId="{B3D9AAC7-8BE5-4992-B78F-5D017C1F9202}"/>
          </ac:spMkLst>
        </pc:spChg>
        <pc:spChg chg="mod">
          <ac:chgData name="Aurelien Domont" userId="6da7715ce44349b3" providerId="LiveId" clId="{3056F74B-79CF-4229-8BA2-4FA2B4329F51}" dt="2021-09-23T04:27:39.248" v="3554" actId="1036"/>
          <ac:spMkLst>
            <pc:docMk/>
            <pc:sldMk cId="2892163911" sldId="2270"/>
            <ac:spMk id="115" creationId="{4204758A-081B-4AE9-9257-5D7CBC03365E}"/>
          </ac:spMkLst>
        </pc:spChg>
        <pc:spChg chg="mod">
          <ac:chgData name="Aurelien Domont" userId="6da7715ce44349b3" providerId="LiveId" clId="{3056F74B-79CF-4229-8BA2-4FA2B4329F51}" dt="2021-09-23T04:27:39.248" v="3554" actId="1036"/>
          <ac:spMkLst>
            <pc:docMk/>
            <pc:sldMk cId="2892163911" sldId="2270"/>
            <ac:spMk id="116" creationId="{AA2F3C75-5182-463C-BA75-F2C7B7BEB22F}"/>
          </ac:spMkLst>
        </pc:spChg>
        <pc:spChg chg="mod">
          <ac:chgData name="Aurelien Domont" userId="6da7715ce44349b3" providerId="LiveId" clId="{3056F74B-79CF-4229-8BA2-4FA2B4329F51}" dt="2021-09-23T04:27:39.248" v="3554" actId="1036"/>
          <ac:spMkLst>
            <pc:docMk/>
            <pc:sldMk cId="2892163911" sldId="2270"/>
            <ac:spMk id="117" creationId="{FF1EE458-03D0-4B0E-9758-8DB61B60B3B7}"/>
          </ac:spMkLst>
        </pc:spChg>
        <pc:spChg chg="mod">
          <ac:chgData name="Aurelien Domont" userId="6da7715ce44349b3" providerId="LiveId" clId="{3056F74B-79CF-4229-8BA2-4FA2B4329F51}" dt="2021-09-23T04:27:39.248" v="3554" actId="1036"/>
          <ac:spMkLst>
            <pc:docMk/>
            <pc:sldMk cId="2892163911" sldId="2270"/>
            <ac:spMk id="118" creationId="{528607E0-9375-4ED8-B65A-3F9BE7B1B233}"/>
          </ac:spMkLst>
        </pc:spChg>
        <pc:spChg chg="mod">
          <ac:chgData name="Aurelien Domont" userId="6da7715ce44349b3" providerId="LiveId" clId="{3056F74B-79CF-4229-8BA2-4FA2B4329F51}" dt="2021-09-23T04:27:39.248" v="3554" actId="1036"/>
          <ac:spMkLst>
            <pc:docMk/>
            <pc:sldMk cId="2892163911" sldId="2270"/>
            <ac:spMk id="119" creationId="{E83E37CE-34FB-4D9F-8A52-D60686053F2A}"/>
          </ac:spMkLst>
        </pc:spChg>
        <pc:spChg chg="mod">
          <ac:chgData name="Aurelien Domont" userId="6da7715ce44349b3" providerId="LiveId" clId="{3056F74B-79CF-4229-8BA2-4FA2B4329F51}" dt="2021-09-23T04:27:39.248" v="3554" actId="1036"/>
          <ac:spMkLst>
            <pc:docMk/>
            <pc:sldMk cId="2892163911" sldId="2270"/>
            <ac:spMk id="120" creationId="{1AC3F6D1-53AA-4932-8CE5-4062DC55CC05}"/>
          </ac:spMkLst>
        </pc:spChg>
        <pc:spChg chg="mod">
          <ac:chgData name="Aurelien Domont" userId="6da7715ce44349b3" providerId="LiveId" clId="{3056F74B-79CF-4229-8BA2-4FA2B4329F51}" dt="2021-09-23T04:27:39.248" v="3554" actId="1036"/>
          <ac:spMkLst>
            <pc:docMk/>
            <pc:sldMk cId="2892163911" sldId="2270"/>
            <ac:spMk id="121" creationId="{418421F0-20E9-4344-B118-A0E261E35CB0}"/>
          </ac:spMkLst>
        </pc:spChg>
        <pc:spChg chg="mod">
          <ac:chgData name="Aurelien Domont" userId="6da7715ce44349b3" providerId="LiveId" clId="{3056F74B-79CF-4229-8BA2-4FA2B4329F51}" dt="2021-09-23T04:27:39.248" v="3554" actId="1036"/>
          <ac:spMkLst>
            <pc:docMk/>
            <pc:sldMk cId="2892163911" sldId="2270"/>
            <ac:spMk id="122" creationId="{549B8614-70B8-42E1-8719-39E21E31475E}"/>
          </ac:spMkLst>
        </pc:spChg>
        <pc:spChg chg="del">
          <ac:chgData name="Aurelien Domont" userId="6da7715ce44349b3" providerId="LiveId" clId="{3056F74B-79CF-4229-8BA2-4FA2B4329F51}" dt="2021-09-23T04:27:33.087" v="3539" actId="478"/>
          <ac:spMkLst>
            <pc:docMk/>
            <pc:sldMk cId="2892163911" sldId="2270"/>
            <ac:spMk id="123" creationId="{0172EE7A-8B95-47EE-ADE6-9950FDDDBD6D}"/>
          </ac:spMkLst>
        </pc:spChg>
        <pc:spChg chg="del">
          <ac:chgData name="Aurelien Domont" userId="6da7715ce44349b3" providerId="LiveId" clId="{3056F74B-79CF-4229-8BA2-4FA2B4329F51}" dt="2021-09-23T04:27:33.087" v="3539" actId="478"/>
          <ac:spMkLst>
            <pc:docMk/>
            <pc:sldMk cId="2892163911" sldId="2270"/>
            <ac:spMk id="124" creationId="{8BC50B2F-FFD8-414B-824C-AA5DBBA53B5C}"/>
          </ac:spMkLst>
        </pc:spChg>
        <pc:spChg chg="del">
          <ac:chgData name="Aurelien Domont" userId="6da7715ce44349b3" providerId="LiveId" clId="{3056F74B-79CF-4229-8BA2-4FA2B4329F51}" dt="2021-09-23T04:27:33.087" v="3539" actId="478"/>
          <ac:spMkLst>
            <pc:docMk/>
            <pc:sldMk cId="2892163911" sldId="2270"/>
            <ac:spMk id="125" creationId="{351FEB5A-210C-40B5-90B7-52DADD38FA94}"/>
          </ac:spMkLst>
        </pc:spChg>
        <pc:spChg chg="mod">
          <ac:chgData name="Aurelien Domont" userId="6da7715ce44349b3" providerId="LiveId" clId="{3056F74B-79CF-4229-8BA2-4FA2B4329F51}" dt="2021-09-23T04:27:39.248" v="3554" actId="1036"/>
          <ac:spMkLst>
            <pc:docMk/>
            <pc:sldMk cId="2892163911" sldId="2270"/>
            <ac:spMk id="126" creationId="{62880837-2C43-40E8-9AF6-B862401777E2}"/>
          </ac:spMkLst>
        </pc:spChg>
        <pc:spChg chg="mod">
          <ac:chgData name="Aurelien Domont" userId="6da7715ce44349b3" providerId="LiveId" clId="{3056F74B-79CF-4229-8BA2-4FA2B4329F51}" dt="2021-09-23T04:27:39.248" v="3554" actId="1036"/>
          <ac:spMkLst>
            <pc:docMk/>
            <pc:sldMk cId="2892163911" sldId="2270"/>
            <ac:spMk id="127" creationId="{9D8C6FBA-53B5-4F81-A74B-1E8F9A7484FB}"/>
          </ac:spMkLst>
        </pc:spChg>
        <pc:spChg chg="mod">
          <ac:chgData name="Aurelien Domont" userId="6da7715ce44349b3" providerId="LiveId" clId="{3056F74B-79CF-4229-8BA2-4FA2B4329F51}" dt="2021-09-23T04:27:39.248" v="3554" actId="1036"/>
          <ac:spMkLst>
            <pc:docMk/>
            <pc:sldMk cId="2892163911" sldId="2270"/>
            <ac:spMk id="128" creationId="{71CE224F-9636-4E50-9853-22A0052BD165}"/>
          </ac:spMkLst>
        </pc:spChg>
        <pc:spChg chg="mod">
          <ac:chgData name="Aurelien Domont" userId="6da7715ce44349b3" providerId="LiveId" clId="{3056F74B-79CF-4229-8BA2-4FA2B4329F51}" dt="2021-09-23T04:27:39.248" v="3554" actId="1036"/>
          <ac:spMkLst>
            <pc:docMk/>
            <pc:sldMk cId="2892163911" sldId="2270"/>
            <ac:spMk id="129" creationId="{706028E1-F1CE-49C0-B366-83E32F82CDC9}"/>
          </ac:spMkLst>
        </pc:spChg>
        <pc:spChg chg="del">
          <ac:chgData name="Aurelien Domont" userId="6da7715ce44349b3" providerId="LiveId" clId="{3056F74B-79CF-4229-8BA2-4FA2B4329F51}" dt="2021-09-23T04:27:33.087" v="3539" actId="478"/>
          <ac:spMkLst>
            <pc:docMk/>
            <pc:sldMk cId="2892163911" sldId="2270"/>
            <ac:spMk id="130" creationId="{0176836C-62DF-4238-BF60-E3EC060D49DE}"/>
          </ac:spMkLst>
        </pc:spChg>
        <pc:cxnChg chg="mod">
          <ac:chgData name="Aurelien Domont" userId="6da7715ce44349b3" providerId="LiveId" clId="{3056F74B-79CF-4229-8BA2-4FA2B4329F51}" dt="2021-09-23T04:27:39.248" v="3554" actId="1036"/>
          <ac:cxnSpMkLst>
            <pc:docMk/>
            <pc:sldMk cId="2892163911" sldId="2270"/>
            <ac:cxnSpMk id="91" creationId="{C6B2FD17-5152-440D-9263-CDF1F0DF1963}"/>
          </ac:cxnSpMkLst>
        </pc:cxnChg>
        <pc:cxnChg chg="mod">
          <ac:chgData name="Aurelien Domont" userId="6da7715ce44349b3" providerId="LiveId" clId="{3056F74B-79CF-4229-8BA2-4FA2B4329F51}" dt="2021-09-23T04:27:39.248" v="3554" actId="1036"/>
          <ac:cxnSpMkLst>
            <pc:docMk/>
            <pc:sldMk cId="2892163911" sldId="2270"/>
            <ac:cxnSpMk id="92" creationId="{D8834B92-3834-41F6-AE53-ADBD2438017C}"/>
          </ac:cxnSpMkLst>
        </pc:cxnChg>
        <pc:cxnChg chg="mod">
          <ac:chgData name="Aurelien Domont" userId="6da7715ce44349b3" providerId="LiveId" clId="{3056F74B-79CF-4229-8BA2-4FA2B4329F51}" dt="2021-09-23T04:27:39.248" v="3554" actId="1036"/>
          <ac:cxnSpMkLst>
            <pc:docMk/>
            <pc:sldMk cId="2892163911" sldId="2270"/>
            <ac:cxnSpMk id="93" creationId="{D64383E5-7894-4068-B541-9FBE2E3C1901}"/>
          </ac:cxnSpMkLst>
        </pc:cxnChg>
        <pc:cxnChg chg="mod">
          <ac:chgData name="Aurelien Domont" userId="6da7715ce44349b3" providerId="LiveId" clId="{3056F74B-79CF-4229-8BA2-4FA2B4329F51}" dt="2021-09-23T04:27:39.248" v="3554" actId="1036"/>
          <ac:cxnSpMkLst>
            <pc:docMk/>
            <pc:sldMk cId="2892163911" sldId="2270"/>
            <ac:cxnSpMk id="94" creationId="{303D6ABA-D966-49AC-86D8-C36DDE18981F}"/>
          </ac:cxnSpMkLst>
        </pc:cxnChg>
        <pc:cxnChg chg="del">
          <ac:chgData name="Aurelien Domont" userId="6da7715ce44349b3" providerId="LiveId" clId="{3056F74B-79CF-4229-8BA2-4FA2B4329F51}" dt="2021-09-23T04:27:33.087" v="3539" actId="478"/>
          <ac:cxnSpMkLst>
            <pc:docMk/>
            <pc:sldMk cId="2892163911" sldId="2270"/>
            <ac:cxnSpMk id="95" creationId="{6690E34B-0B6B-4989-AF85-209849AF3AEA}"/>
          </ac:cxnSpMkLst>
        </pc:cxnChg>
      </pc:sldChg>
      <pc:sldChg chg="modSp add mod">
        <pc:chgData name="Aurelien Domont" userId="6da7715ce44349b3" providerId="LiveId" clId="{3056F74B-79CF-4229-8BA2-4FA2B4329F51}" dt="2021-09-23T04:28:30.050" v="3573" actId="1036"/>
        <pc:sldMkLst>
          <pc:docMk/>
          <pc:sldMk cId="1189819266" sldId="2271"/>
        </pc:sldMkLst>
        <pc:spChg chg="mod">
          <ac:chgData name="Aurelien Domont" userId="6da7715ce44349b3" providerId="LiveId" clId="{3056F74B-79CF-4229-8BA2-4FA2B4329F51}" dt="2021-09-23T04:28:30.050" v="3573" actId="1036"/>
          <ac:spMkLst>
            <pc:docMk/>
            <pc:sldMk cId="1189819266" sldId="2271"/>
            <ac:spMk id="28" creationId="{123D1C09-AAA1-4965-AD42-C496C5E915FD}"/>
          </ac:spMkLst>
        </pc:spChg>
      </pc:sldChg>
      <pc:sldChg chg="addSp delSp modSp add mod">
        <pc:chgData name="Aurelien Domont" userId="6da7715ce44349b3" providerId="LiveId" clId="{3056F74B-79CF-4229-8BA2-4FA2B4329F51}" dt="2021-09-23T04:36:15.654" v="3838" actId="1036"/>
        <pc:sldMkLst>
          <pc:docMk/>
          <pc:sldMk cId="4256610453" sldId="2272"/>
        </pc:sldMkLst>
        <pc:spChg chg="del">
          <ac:chgData name="Aurelien Domont" userId="6da7715ce44349b3" providerId="LiveId" clId="{3056F74B-79CF-4229-8BA2-4FA2B4329F51}" dt="2021-09-23T04:33:56.280" v="3674" actId="478"/>
          <ac:spMkLst>
            <pc:docMk/>
            <pc:sldMk cId="4256610453" sldId="2272"/>
            <ac:spMk id="9" creationId="{B769D6F6-AFD9-4EA9-B80A-33F28CA11BE0}"/>
          </ac:spMkLst>
        </pc:spChg>
        <pc:spChg chg="del">
          <ac:chgData name="Aurelien Domont" userId="6da7715ce44349b3" providerId="LiveId" clId="{3056F74B-79CF-4229-8BA2-4FA2B4329F51}" dt="2021-09-23T04:33:56.280" v="3674" actId="478"/>
          <ac:spMkLst>
            <pc:docMk/>
            <pc:sldMk cId="4256610453" sldId="2272"/>
            <ac:spMk id="10" creationId="{5B7FFB86-AF8B-42F2-8248-7F825E9729B5}"/>
          </ac:spMkLst>
        </pc:spChg>
        <pc:spChg chg="del">
          <ac:chgData name="Aurelien Domont" userId="6da7715ce44349b3" providerId="LiveId" clId="{3056F74B-79CF-4229-8BA2-4FA2B4329F51}" dt="2021-09-23T04:33:56.280" v="3674" actId="478"/>
          <ac:spMkLst>
            <pc:docMk/>
            <pc:sldMk cId="4256610453" sldId="2272"/>
            <ac:spMk id="11" creationId="{9BCB142E-72D8-4305-9096-885998A95FB3}"/>
          </ac:spMkLst>
        </pc:spChg>
        <pc:spChg chg="del">
          <ac:chgData name="Aurelien Domont" userId="6da7715ce44349b3" providerId="LiveId" clId="{3056F74B-79CF-4229-8BA2-4FA2B4329F51}" dt="2021-09-23T04:33:56.280" v="3674" actId="478"/>
          <ac:spMkLst>
            <pc:docMk/>
            <pc:sldMk cId="4256610453" sldId="2272"/>
            <ac:spMk id="12" creationId="{9A65ADC9-0635-434B-9829-EA26E50BCCAC}"/>
          </ac:spMkLst>
        </pc:spChg>
        <pc:spChg chg="del">
          <ac:chgData name="Aurelien Domont" userId="6da7715ce44349b3" providerId="LiveId" clId="{3056F74B-79CF-4229-8BA2-4FA2B4329F51}" dt="2021-09-23T04:33:56.280" v="3674" actId="478"/>
          <ac:spMkLst>
            <pc:docMk/>
            <pc:sldMk cId="4256610453" sldId="2272"/>
            <ac:spMk id="14" creationId="{01AF693B-D65B-427E-AB73-775C9CA6F9F8}"/>
          </ac:spMkLst>
        </pc:spChg>
        <pc:spChg chg="add mod">
          <ac:chgData name="Aurelien Domont" userId="6da7715ce44349b3" providerId="LiveId" clId="{3056F74B-79CF-4229-8BA2-4FA2B4329F51}" dt="2021-09-23T04:36:15.654" v="3838" actId="1036"/>
          <ac:spMkLst>
            <pc:docMk/>
            <pc:sldMk cId="4256610453" sldId="2272"/>
            <ac:spMk id="15" creationId="{C2F89661-CA86-4D89-95FB-36076FD91099}"/>
          </ac:spMkLst>
        </pc:spChg>
        <pc:spChg chg="mod">
          <ac:chgData name="Aurelien Domont" userId="6da7715ce44349b3" providerId="LiveId" clId="{3056F74B-79CF-4229-8BA2-4FA2B4329F51}" dt="2021-09-23T04:33:49.955" v="3673" actId="20577"/>
          <ac:spMkLst>
            <pc:docMk/>
            <pc:sldMk cId="4256610453" sldId="2272"/>
            <ac:spMk id="16" creationId="{6C2BB713-9637-4B9B-938F-E9768876782A}"/>
          </ac:spMkLst>
        </pc:spChg>
        <pc:spChg chg="mod">
          <ac:chgData name="Aurelien Domont" userId="6da7715ce44349b3" providerId="LiveId" clId="{3056F74B-79CF-4229-8BA2-4FA2B4329F51}" dt="2021-09-23T04:36:15.654" v="3838" actId="1036"/>
          <ac:spMkLst>
            <pc:docMk/>
            <pc:sldMk cId="4256610453" sldId="2272"/>
            <ac:spMk id="17" creationId="{D7CB83BD-BA5C-429A-B579-008A442C4480}"/>
          </ac:spMkLst>
        </pc:spChg>
        <pc:spChg chg="mod">
          <ac:chgData name="Aurelien Domont" userId="6da7715ce44349b3" providerId="LiveId" clId="{3056F74B-79CF-4229-8BA2-4FA2B4329F51}" dt="2021-09-23T04:36:15.654" v="3838" actId="1036"/>
          <ac:spMkLst>
            <pc:docMk/>
            <pc:sldMk cId="4256610453" sldId="2272"/>
            <ac:spMk id="18" creationId="{6690B5F9-90B9-4DDB-8F95-51D207BE3335}"/>
          </ac:spMkLst>
        </pc:spChg>
        <pc:spChg chg="add mod">
          <ac:chgData name="Aurelien Domont" userId="6da7715ce44349b3" providerId="LiveId" clId="{3056F74B-79CF-4229-8BA2-4FA2B4329F51}" dt="2021-09-23T04:36:15.654" v="3838" actId="1036"/>
          <ac:spMkLst>
            <pc:docMk/>
            <pc:sldMk cId="4256610453" sldId="2272"/>
            <ac:spMk id="19" creationId="{3FE28DC2-2D68-4ABF-9AAD-5BE4CD642950}"/>
          </ac:spMkLst>
        </pc:spChg>
        <pc:spChg chg="add mod">
          <ac:chgData name="Aurelien Domont" userId="6da7715ce44349b3" providerId="LiveId" clId="{3056F74B-79CF-4229-8BA2-4FA2B4329F51}" dt="2021-09-23T04:36:15.654" v="3838" actId="1036"/>
          <ac:spMkLst>
            <pc:docMk/>
            <pc:sldMk cId="4256610453" sldId="2272"/>
            <ac:spMk id="20" creationId="{9DC4A919-2119-4C74-BA0F-D71C9E469321}"/>
          </ac:spMkLst>
        </pc:spChg>
        <pc:spChg chg="del">
          <ac:chgData name="Aurelien Domont" userId="6da7715ce44349b3" providerId="LiveId" clId="{3056F74B-79CF-4229-8BA2-4FA2B4329F51}" dt="2021-09-23T04:34:09.145" v="3704" actId="478"/>
          <ac:spMkLst>
            <pc:docMk/>
            <pc:sldMk cId="4256610453" sldId="2272"/>
            <ac:spMk id="21" creationId="{8887032C-CE4E-4107-8157-6C8608EF9A32}"/>
          </ac:spMkLst>
        </pc:spChg>
        <pc:spChg chg="del">
          <ac:chgData name="Aurelien Domont" userId="6da7715ce44349b3" providerId="LiveId" clId="{3056F74B-79CF-4229-8BA2-4FA2B4329F51}" dt="2021-09-23T04:34:09.145" v="3704" actId="478"/>
          <ac:spMkLst>
            <pc:docMk/>
            <pc:sldMk cId="4256610453" sldId="2272"/>
            <ac:spMk id="22" creationId="{CC39D5EE-40EF-4CFB-9505-D1EFF3AF3535}"/>
          </ac:spMkLst>
        </pc:spChg>
        <pc:spChg chg="add mod">
          <ac:chgData name="Aurelien Domont" userId="6da7715ce44349b3" providerId="LiveId" clId="{3056F74B-79CF-4229-8BA2-4FA2B4329F51}" dt="2021-09-23T04:36:15.654" v="3838" actId="1036"/>
          <ac:spMkLst>
            <pc:docMk/>
            <pc:sldMk cId="4256610453" sldId="2272"/>
            <ac:spMk id="23" creationId="{8938110C-37D0-45A9-B733-B3E99E8826C8}"/>
          </ac:spMkLst>
        </pc:spChg>
      </pc:sldChg>
      <pc:sldChg chg="addSp delSp modSp add mod">
        <pc:chgData name="Aurelien Domont" userId="6da7715ce44349b3" providerId="LiveId" clId="{3056F74B-79CF-4229-8BA2-4FA2B4329F51}" dt="2021-09-23T05:07:11.163" v="4082" actId="20577"/>
        <pc:sldMkLst>
          <pc:docMk/>
          <pc:sldMk cId="255163349" sldId="2273"/>
        </pc:sldMkLst>
        <pc:spChg chg="add mod">
          <ac:chgData name="Aurelien Domont" userId="6da7715ce44349b3" providerId="LiveId" clId="{3056F74B-79CF-4229-8BA2-4FA2B4329F51}" dt="2021-09-23T05:06:39.067" v="4081" actId="14100"/>
          <ac:spMkLst>
            <pc:docMk/>
            <pc:sldMk cId="255163349" sldId="2273"/>
            <ac:spMk id="11" creationId="{D3A11C3E-8F34-49E3-8B72-D0AF8C6C170C}"/>
          </ac:spMkLst>
        </pc:spChg>
        <pc:spChg chg="del">
          <ac:chgData name="Aurelien Domont" userId="6da7715ce44349b3" providerId="LiveId" clId="{3056F74B-79CF-4229-8BA2-4FA2B4329F51}" dt="2021-09-23T05:06:03.819" v="4077" actId="478"/>
          <ac:spMkLst>
            <pc:docMk/>
            <pc:sldMk cId="255163349" sldId="2273"/>
            <ac:spMk id="15" creationId="{C2F89661-CA86-4D89-95FB-36076FD91099}"/>
          </ac:spMkLst>
        </pc:spChg>
        <pc:spChg chg="mod">
          <ac:chgData name="Aurelien Domont" userId="6da7715ce44349b3" providerId="LiveId" clId="{3056F74B-79CF-4229-8BA2-4FA2B4329F51}" dt="2021-09-23T05:07:11.163" v="4082" actId="20577"/>
          <ac:spMkLst>
            <pc:docMk/>
            <pc:sldMk cId="255163349" sldId="2273"/>
            <ac:spMk id="16" creationId="{6C2BB713-9637-4B9B-938F-E9768876782A}"/>
          </ac:spMkLst>
        </pc:spChg>
        <pc:spChg chg="del">
          <ac:chgData name="Aurelien Domont" userId="6da7715ce44349b3" providerId="LiveId" clId="{3056F74B-79CF-4229-8BA2-4FA2B4329F51}" dt="2021-09-23T05:06:05.596" v="4078" actId="478"/>
          <ac:spMkLst>
            <pc:docMk/>
            <pc:sldMk cId="255163349" sldId="2273"/>
            <ac:spMk id="17" creationId="{D7CB83BD-BA5C-429A-B579-008A442C4480}"/>
          </ac:spMkLst>
        </pc:spChg>
        <pc:spChg chg="del">
          <ac:chgData name="Aurelien Domont" userId="6da7715ce44349b3" providerId="LiveId" clId="{3056F74B-79CF-4229-8BA2-4FA2B4329F51}" dt="2021-09-23T05:06:05.596" v="4078" actId="478"/>
          <ac:spMkLst>
            <pc:docMk/>
            <pc:sldMk cId="255163349" sldId="2273"/>
            <ac:spMk id="18" creationId="{6690B5F9-90B9-4DDB-8F95-51D207BE3335}"/>
          </ac:spMkLst>
        </pc:spChg>
        <pc:spChg chg="del">
          <ac:chgData name="Aurelien Domont" userId="6da7715ce44349b3" providerId="LiveId" clId="{3056F74B-79CF-4229-8BA2-4FA2B4329F51}" dt="2021-09-23T05:06:03.819" v="4077" actId="478"/>
          <ac:spMkLst>
            <pc:docMk/>
            <pc:sldMk cId="255163349" sldId="2273"/>
            <ac:spMk id="19" creationId="{3FE28DC2-2D68-4ABF-9AAD-5BE4CD642950}"/>
          </ac:spMkLst>
        </pc:spChg>
        <pc:spChg chg="del">
          <ac:chgData name="Aurelien Domont" userId="6da7715ce44349b3" providerId="LiveId" clId="{3056F74B-79CF-4229-8BA2-4FA2B4329F51}" dt="2021-09-23T05:06:03.819" v="4077" actId="478"/>
          <ac:spMkLst>
            <pc:docMk/>
            <pc:sldMk cId="255163349" sldId="2273"/>
            <ac:spMk id="20" creationId="{9DC4A919-2119-4C74-BA0F-D71C9E469321}"/>
          </ac:spMkLst>
        </pc:spChg>
        <pc:spChg chg="del">
          <ac:chgData name="Aurelien Domont" userId="6da7715ce44349b3" providerId="LiveId" clId="{3056F74B-79CF-4229-8BA2-4FA2B4329F51}" dt="2021-09-23T05:06:03.819" v="4077" actId="478"/>
          <ac:spMkLst>
            <pc:docMk/>
            <pc:sldMk cId="255163349" sldId="2273"/>
            <ac:spMk id="23" creationId="{8938110C-37D0-45A9-B733-B3E99E8826C8}"/>
          </ac:spMkLst>
        </pc:spChg>
        <pc:graphicFrameChg chg="add mod">
          <ac:chgData name="Aurelien Domont" userId="6da7715ce44349b3" providerId="LiveId" clId="{3056F74B-79CF-4229-8BA2-4FA2B4329F51}" dt="2021-09-23T05:06:23.197" v="4079"/>
          <ac:graphicFrameMkLst>
            <pc:docMk/>
            <pc:sldMk cId="255163349" sldId="2273"/>
            <ac:graphicFrameMk id="12" creationId="{CA24038B-8215-4B7C-A6F4-128DC9596A3E}"/>
          </ac:graphicFrameMkLst>
        </pc:graphicFrameChg>
      </pc:sldChg>
      <pc:sldChg chg="addSp delSp modSp add mod">
        <pc:chgData name="Aurelien Domont" userId="6da7715ce44349b3" providerId="LiveId" clId="{3056F74B-79CF-4229-8BA2-4FA2B4329F51}" dt="2021-09-23T05:10:14.261" v="4110" actId="478"/>
        <pc:sldMkLst>
          <pc:docMk/>
          <pc:sldMk cId="1209666918" sldId="2274"/>
        </pc:sldMkLst>
        <pc:spChg chg="add del mod">
          <ac:chgData name="Aurelien Domont" userId="6da7715ce44349b3" providerId="LiveId" clId="{3056F74B-79CF-4229-8BA2-4FA2B4329F51}" dt="2021-09-23T05:10:09.221" v="4108" actId="478"/>
          <ac:spMkLst>
            <pc:docMk/>
            <pc:sldMk cId="1209666918" sldId="2274"/>
            <ac:spMk id="3" creationId="{D70369A3-FF90-4D90-8C86-82219C78907C}"/>
          </ac:spMkLst>
        </pc:spChg>
        <pc:spChg chg="add del mod">
          <ac:chgData name="Aurelien Domont" userId="6da7715ce44349b3" providerId="LiveId" clId="{3056F74B-79CF-4229-8BA2-4FA2B4329F51}" dt="2021-09-23T05:10:14.261" v="4110" actId="478"/>
          <ac:spMkLst>
            <pc:docMk/>
            <pc:sldMk cId="1209666918" sldId="2274"/>
            <ac:spMk id="20" creationId="{E3CD9493-D8CA-43E1-91D8-A02A1F5177FC}"/>
          </ac:spMkLst>
        </pc:spChg>
        <pc:spChg chg="add del mod">
          <ac:chgData name="Aurelien Domont" userId="6da7715ce44349b3" providerId="LiveId" clId="{3056F74B-79CF-4229-8BA2-4FA2B4329F51}" dt="2021-09-23T05:10:12.900" v="4109" actId="478"/>
          <ac:spMkLst>
            <pc:docMk/>
            <pc:sldMk cId="1209666918" sldId="2274"/>
            <ac:spMk id="38" creationId="{148F9619-8175-4BC2-82E3-392A1B1303E3}"/>
          </ac:spMkLst>
        </pc:spChg>
        <pc:spChg chg="mod">
          <ac:chgData name="Aurelien Domont" userId="6da7715ce44349b3" providerId="LiveId" clId="{3056F74B-79CF-4229-8BA2-4FA2B4329F51}" dt="2021-09-23T05:09:47.004" v="4106" actId="20577"/>
          <ac:spMkLst>
            <pc:docMk/>
            <pc:sldMk cId="1209666918" sldId="2274"/>
            <ac:spMk id="39" creationId="{DE3CB515-9A1A-4855-ADD6-6A3482DCA643}"/>
          </ac:spMkLst>
        </pc:spChg>
      </pc:sldChg>
    </pc:docChg>
  </pc:docChgLst>
  <pc:docChgLst>
    <pc:chgData name="Aurelien Domont" userId="6da7715ce44349b3" providerId="LiveId" clId="{CD439F51-E0E8-4B14-9E77-8A11DFB18B79}"/>
    <pc:docChg chg="custSel addSld delSld modSld">
      <pc:chgData name="Aurelien Domont" userId="6da7715ce44349b3" providerId="LiveId" clId="{CD439F51-E0E8-4B14-9E77-8A11DFB18B79}" dt="2023-06-14T02:51:37.165" v="86" actId="207"/>
      <pc:docMkLst>
        <pc:docMk/>
      </pc:docMkLst>
      <pc:sldChg chg="addSp modSp">
        <pc:chgData name="Aurelien Domont" userId="6da7715ce44349b3" providerId="LiveId" clId="{CD439F51-E0E8-4B14-9E77-8A11DFB18B79}" dt="2023-06-14T01:41:36.267" v="1"/>
        <pc:sldMkLst>
          <pc:docMk/>
          <pc:sldMk cId="3131901387" sldId="256"/>
        </pc:sldMkLst>
        <pc:spChg chg="add mod">
          <ac:chgData name="Aurelien Domont" userId="6da7715ce44349b3" providerId="LiveId" clId="{CD439F51-E0E8-4B14-9E77-8A11DFB18B79}" dt="2023-06-14T01:41:36.267" v="1"/>
          <ac:spMkLst>
            <pc:docMk/>
            <pc:sldMk cId="3131901387" sldId="256"/>
            <ac:spMk id="4" creationId="{DADC4124-409C-ED8C-C2DD-4AFCC2CAEC77}"/>
          </ac:spMkLst>
        </pc:spChg>
      </pc:sldChg>
      <pc:sldChg chg="addSp delSp modSp mod">
        <pc:chgData name="Aurelien Domont" userId="6da7715ce44349b3" providerId="LiveId" clId="{CD439F51-E0E8-4B14-9E77-8A11DFB18B79}" dt="2023-06-14T02:50:10.413" v="67" actId="207"/>
        <pc:sldMkLst>
          <pc:docMk/>
          <pc:sldMk cId="1110778063" sldId="2183"/>
        </pc:sldMkLst>
        <pc:spChg chg="add mod">
          <ac:chgData name="Aurelien Domont" userId="6da7715ce44349b3" providerId="LiveId" clId="{CD439F51-E0E8-4B14-9E77-8A11DFB18B79}" dt="2023-06-14T02:50:10.413" v="67" actId="207"/>
          <ac:spMkLst>
            <pc:docMk/>
            <pc:sldMk cId="1110778063" sldId="2183"/>
            <ac:spMk id="2" creationId="{59486BD0-3A91-8B37-7712-5BE7567FFE5F}"/>
          </ac:spMkLst>
        </pc:spChg>
        <pc:spChg chg="add mod">
          <ac:chgData name="Aurelien Domont" userId="6da7715ce44349b3" providerId="LiveId" clId="{CD439F51-E0E8-4B14-9E77-8A11DFB18B79}" dt="2023-06-14T02:50:07.138" v="66"/>
          <ac:spMkLst>
            <pc:docMk/>
            <pc:sldMk cId="1110778063" sldId="2183"/>
            <ac:spMk id="4" creationId="{2AB57111-D0F5-4987-E0B9-9096D3C9F52E}"/>
          </ac:spMkLst>
        </pc:spChg>
        <pc:spChg chg="add mod">
          <ac:chgData name="Aurelien Domont" userId="6da7715ce44349b3" providerId="LiveId" clId="{CD439F51-E0E8-4B14-9E77-8A11DFB18B79}" dt="2023-06-14T02:50:07.138" v="66"/>
          <ac:spMkLst>
            <pc:docMk/>
            <pc:sldMk cId="1110778063" sldId="2183"/>
            <ac:spMk id="5" creationId="{4C283DD2-77E7-5DE4-26B7-4FEB1256DE59}"/>
          </ac:spMkLst>
        </pc:spChg>
        <pc:spChg chg="add mod">
          <ac:chgData name="Aurelien Domont" userId="6da7715ce44349b3" providerId="LiveId" clId="{CD439F51-E0E8-4B14-9E77-8A11DFB18B79}" dt="2023-06-14T02:50:07.138" v="66"/>
          <ac:spMkLst>
            <pc:docMk/>
            <pc:sldMk cId="1110778063" sldId="2183"/>
            <ac:spMk id="6" creationId="{D6B01350-AF67-7D24-F4A2-FC46A00CEBDF}"/>
          </ac:spMkLst>
        </pc:spChg>
        <pc:spChg chg="add mod">
          <ac:chgData name="Aurelien Domont" userId="6da7715ce44349b3" providerId="LiveId" clId="{CD439F51-E0E8-4B14-9E77-8A11DFB18B79}" dt="2023-06-14T02:50:07.138" v="66"/>
          <ac:spMkLst>
            <pc:docMk/>
            <pc:sldMk cId="1110778063" sldId="2183"/>
            <ac:spMk id="7" creationId="{F31A50C5-AE99-2B94-51FF-BAE47E6F7A34}"/>
          </ac:spMkLst>
        </pc:spChg>
        <pc:spChg chg="add mod">
          <ac:chgData name="Aurelien Domont" userId="6da7715ce44349b3" providerId="LiveId" clId="{CD439F51-E0E8-4B14-9E77-8A11DFB18B79}" dt="2023-06-14T02:50:07.138" v="66"/>
          <ac:spMkLst>
            <pc:docMk/>
            <pc:sldMk cId="1110778063" sldId="2183"/>
            <ac:spMk id="8" creationId="{E56BF3A0-9381-592C-DE3E-79E3A8A7566C}"/>
          </ac:spMkLst>
        </pc:spChg>
        <pc:spChg chg="add mod">
          <ac:chgData name="Aurelien Domont" userId="6da7715ce44349b3" providerId="LiveId" clId="{CD439F51-E0E8-4B14-9E77-8A11DFB18B79}" dt="2023-06-14T02:50:07.138" v="66"/>
          <ac:spMkLst>
            <pc:docMk/>
            <pc:sldMk cId="1110778063" sldId="2183"/>
            <ac:spMk id="21" creationId="{CAAB2DEA-D243-F4AB-6112-36F841A3BE43}"/>
          </ac:spMkLst>
        </pc:spChg>
        <pc:spChg chg="add mod">
          <ac:chgData name="Aurelien Domont" userId="6da7715ce44349b3" providerId="LiveId" clId="{CD439F51-E0E8-4B14-9E77-8A11DFB18B79}" dt="2023-06-14T02:50:07.138" v="66"/>
          <ac:spMkLst>
            <pc:docMk/>
            <pc:sldMk cId="1110778063" sldId="2183"/>
            <ac:spMk id="22" creationId="{DB671EEA-1A59-23DF-2321-EE293F80096B}"/>
          </ac:spMkLst>
        </pc:spChg>
        <pc:spChg chg="add mod">
          <ac:chgData name="Aurelien Domont" userId="6da7715ce44349b3" providerId="LiveId" clId="{CD439F51-E0E8-4B14-9E77-8A11DFB18B79}" dt="2023-06-14T02:50:07.138" v="66"/>
          <ac:spMkLst>
            <pc:docMk/>
            <pc:sldMk cId="1110778063" sldId="2183"/>
            <ac:spMk id="23" creationId="{6BA2B843-880E-3F34-2E2A-B41F9A8D5062}"/>
          </ac:spMkLst>
        </pc:spChg>
        <pc:spChg chg="add mod">
          <ac:chgData name="Aurelien Domont" userId="6da7715ce44349b3" providerId="LiveId" clId="{CD439F51-E0E8-4B14-9E77-8A11DFB18B79}" dt="2023-06-14T02:50:07.138" v="66"/>
          <ac:spMkLst>
            <pc:docMk/>
            <pc:sldMk cId="1110778063" sldId="2183"/>
            <ac:spMk id="24" creationId="{F636020A-8A62-CB6F-72E5-3B4E8B17A6F4}"/>
          </ac:spMkLst>
        </pc:spChg>
        <pc:spChg chg="add mod">
          <ac:chgData name="Aurelien Domont" userId="6da7715ce44349b3" providerId="LiveId" clId="{CD439F51-E0E8-4B14-9E77-8A11DFB18B79}" dt="2023-06-14T02:50:07.138" v="66"/>
          <ac:spMkLst>
            <pc:docMk/>
            <pc:sldMk cId="1110778063" sldId="2183"/>
            <ac:spMk id="25" creationId="{BC9F20B6-B256-B827-5FDF-E8FC996129DA}"/>
          </ac:spMkLst>
        </pc:spChg>
        <pc:spChg chg="add mod">
          <ac:chgData name="Aurelien Domont" userId="6da7715ce44349b3" providerId="LiveId" clId="{CD439F51-E0E8-4B14-9E77-8A11DFB18B79}" dt="2023-06-14T02:50:07.138" v="66"/>
          <ac:spMkLst>
            <pc:docMk/>
            <pc:sldMk cId="1110778063" sldId="2183"/>
            <ac:spMk id="27" creationId="{CE29D88E-D2D2-6258-1A02-ADA822C257B7}"/>
          </ac:spMkLst>
        </pc:spChg>
        <pc:spChg chg="del">
          <ac:chgData name="Aurelien Domont" userId="6da7715ce44349b3" providerId="LiveId" clId="{CD439F51-E0E8-4B14-9E77-8A11DFB18B79}" dt="2023-06-14T02:50:06.431" v="65" actId="478"/>
          <ac:spMkLst>
            <pc:docMk/>
            <pc:sldMk cId="1110778063" sldId="2183"/>
            <ac:spMk id="28" creationId="{8F9BDE7E-730C-4EE1-89B3-9A9B2496A6C6}"/>
          </ac:spMkLst>
        </pc:spChg>
        <pc:spChg chg="del">
          <ac:chgData name="Aurelien Domont" userId="6da7715ce44349b3" providerId="LiveId" clId="{CD439F51-E0E8-4B14-9E77-8A11DFB18B79}" dt="2023-06-14T02:50:06.431" v="65" actId="478"/>
          <ac:spMkLst>
            <pc:docMk/>
            <pc:sldMk cId="1110778063" sldId="2183"/>
            <ac:spMk id="29" creationId="{078EF8B0-6CE0-4835-A802-F0021CA4CD86}"/>
          </ac:spMkLst>
        </pc:spChg>
        <pc:spChg chg="del">
          <ac:chgData name="Aurelien Domont" userId="6da7715ce44349b3" providerId="LiveId" clId="{CD439F51-E0E8-4B14-9E77-8A11DFB18B79}" dt="2023-06-14T02:50:06.431" v="65" actId="478"/>
          <ac:spMkLst>
            <pc:docMk/>
            <pc:sldMk cId="1110778063" sldId="2183"/>
            <ac:spMk id="30" creationId="{AE5C5FA7-A0F8-4E37-B653-5DEE20994878}"/>
          </ac:spMkLst>
        </pc:spChg>
        <pc:spChg chg="del">
          <ac:chgData name="Aurelien Domont" userId="6da7715ce44349b3" providerId="LiveId" clId="{CD439F51-E0E8-4B14-9E77-8A11DFB18B79}" dt="2023-06-14T02:50:06.431" v="65" actId="478"/>
          <ac:spMkLst>
            <pc:docMk/>
            <pc:sldMk cId="1110778063" sldId="2183"/>
            <ac:spMk id="31" creationId="{9C6E01BE-5D06-49F2-977D-AAFECF30CA00}"/>
          </ac:spMkLst>
        </pc:spChg>
        <pc:spChg chg="del">
          <ac:chgData name="Aurelien Domont" userId="6da7715ce44349b3" providerId="LiveId" clId="{CD439F51-E0E8-4B14-9E77-8A11DFB18B79}" dt="2023-06-14T02:50:06.431" v="65" actId="478"/>
          <ac:spMkLst>
            <pc:docMk/>
            <pc:sldMk cId="1110778063" sldId="2183"/>
            <ac:spMk id="32" creationId="{65212FAF-8972-4CA9-8F39-A75479F25D95}"/>
          </ac:spMkLst>
        </pc:spChg>
        <pc:spChg chg="del">
          <ac:chgData name="Aurelien Domont" userId="6da7715ce44349b3" providerId="LiveId" clId="{CD439F51-E0E8-4B14-9E77-8A11DFB18B79}" dt="2023-06-14T02:50:06.431" v="65" actId="478"/>
          <ac:spMkLst>
            <pc:docMk/>
            <pc:sldMk cId="1110778063" sldId="2183"/>
            <ac:spMk id="33" creationId="{5C134501-0C0B-4D44-BFA9-EFE5E4074136}"/>
          </ac:spMkLst>
        </pc:spChg>
        <pc:spChg chg="del">
          <ac:chgData name="Aurelien Domont" userId="6da7715ce44349b3" providerId="LiveId" clId="{CD439F51-E0E8-4B14-9E77-8A11DFB18B79}" dt="2023-06-14T02:50:06.431" v="65" actId="478"/>
          <ac:spMkLst>
            <pc:docMk/>
            <pc:sldMk cId="1110778063" sldId="2183"/>
            <ac:spMk id="44" creationId="{031206D3-8DE3-4373-9529-10DD6BCF69E0}"/>
          </ac:spMkLst>
        </pc:spChg>
        <pc:spChg chg="del">
          <ac:chgData name="Aurelien Domont" userId="6da7715ce44349b3" providerId="LiveId" clId="{CD439F51-E0E8-4B14-9E77-8A11DFB18B79}" dt="2023-06-14T02:50:06.431" v="65" actId="478"/>
          <ac:spMkLst>
            <pc:docMk/>
            <pc:sldMk cId="1110778063" sldId="2183"/>
            <ac:spMk id="45" creationId="{1ECD97B7-8C35-450A-A45B-A9685E355ED3}"/>
          </ac:spMkLst>
        </pc:spChg>
        <pc:spChg chg="del">
          <ac:chgData name="Aurelien Domont" userId="6da7715ce44349b3" providerId="LiveId" clId="{CD439F51-E0E8-4B14-9E77-8A11DFB18B79}" dt="2023-06-14T02:50:06.431" v="65" actId="478"/>
          <ac:spMkLst>
            <pc:docMk/>
            <pc:sldMk cId="1110778063" sldId="2183"/>
            <ac:spMk id="46" creationId="{AF78A30E-1CE8-4045-BC75-7F6B2908A6B0}"/>
          </ac:spMkLst>
        </pc:spChg>
        <pc:spChg chg="del">
          <ac:chgData name="Aurelien Domont" userId="6da7715ce44349b3" providerId="LiveId" clId="{CD439F51-E0E8-4B14-9E77-8A11DFB18B79}" dt="2023-06-14T02:50:06.431" v="65" actId="478"/>
          <ac:spMkLst>
            <pc:docMk/>
            <pc:sldMk cId="1110778063" sldId="2183"/>
            <ac:spMk id="47" creationId="{EBDE75AA-0BD1-4C3B-A59B-A53E267A2848}"/>
          </ac:spMkLst>
        </pc:spChg>
        <pc:spChg chg="del">
          <ac:chgData name="Aurelien Domont" userId="6da7715ce44349b3" providerId="LiveId" clId="{CD439F51-E0E8-4B14-9E77-8A11DFB18B79}" dt="2023-06-14T02:50:06.431" v="65" actId="478"/>
          <ac:spMkLst>
            <pc:docMk/>
            <pc:sldMk cId="1110778063" sldId="2183"/>
            <ac:spMk id="48" creationId="{A1EAD102-98DE-40D0-ACE3-99A379D68ABF}"/>
          </ac:spMkLst>
        </pc:spChg>
        <pc:spChg chg="del">
          <ac:chgData name="Aurelien Domont" userId="6da7715ce44349b3" providerId="LiveId" clId="{CD439F51-E0E8-4B14-9E77-8A11DFB18B79}" dt="2023-06-14T02:50:06.431" v="65" actId="478"/>
          <ac:spMkLst>
            <pc:docMk/>
            <pc:sldMk cId="1110778063" sldId="2183"/>
            <ac:spMk id="50" creationId="{0D05D79D-0878-4B39-A352-4415BD8534FA}"/>
          </ac:spMkLst>
        </pc:spChg>
        <pc:picChg chg="add mod">
          <ac:chgData name="Aurelien Domont" userId="6da7715ce44349b3" providerId="LiveId" clId="{CD439F51-E0E8-4B14-9E77-8A11DFB18B79}" dt="2023-06-14T02:50:07.138" v="66"/>
          <ac:picMkLst>
            <pc:docMk/>
            <pc:sldMk cId="1110778063" sldId="2183"/>
            <ac:picMk id="9" creationId="{13129B95-1478-5ECC-AF29-C6610B5D7AA8}"/>
          </ac:picMkLst>
        </pc:picChg>
        <pc:picChg chg="add mod">
          <ac:chgData name="Aurelien Domont" userId="6da7715ce44349b3" providerId="LiveId" clId="{CD439F51-E0E8-4B14-9E77-8A11DFB18B79}" dt="2023-06-14T02:50:07.138" v="66"/>
          <ac:picMkLst>
            <pc:docMk/>
            <pc:sldMk cId="1110778063" sldId="2183"/>
            <ac:picMk id="10" creationId="{05E44EC8-1EE1-AF10-264C-6DE0E63552CE}"/>
          </ac:picMkLst>
        </pc:picChg>
        <pc:picChg chg="add mod">
          <ac:chgData name="Aurelien Domont" userId="6da7715ce44349b3" providerId="LiveId" clId="{CD439F51-E0E8-4B14-9E77-8A11DFB18B79}" dt="2023-06-14T02:50:07.138" v="66"/>
          <ac:picMkLst>
            <pc:docMk/>
            <pc:sldMk cId="1110778063" sldId="2183"/>
            <ac:picMk id="11" creationId="{AFDB1B6C-19D6-844F-6CAA-C4013FC1A0D1}"/>
          </ac:picMkLst>
        </pc:picChg>
        <pc:picChg chg="add mod">
          <ac:chgData name="Aurelien Domont" userId="6da7715ce44349b3" providerId="LiveId" clId="{CD439F51-E0E8-4B14-9E77-8A11DFB18B79}" dt="2023-06-14T02:50:07.138" v="66"/>
          <ac:picMkLst>
            <pc:docMk/>
            <pc:sldMk cId="1110778063" sldId="2183"/>
            <ac:picMk id="12" creationId="{B6DA5120-AD72-0701-2390-8BE10C51F703}"/>
          </ac:picMkLst>
        </pc:picChg>
        <pc:picChg chg="add mod">
          <ac:chgData name="Aurelien Domont" userId="6da7715ce44349b3" providerId="LiveId" clId="{CD439F51-E0E8-4B14-9E77-8A11DFB18B79}" dt="2023-06-14T02:50:07.138" v="66"/>
          <ac:picMkLst>
            <pc:docMk/>
            <pc:sldMk cId="1110778063" sldId="2183"/>
            <ac:picMk id="14" creationId="{B9D9211B-2771-CD57-74BC-54C2014F14B0}"/>
          </ac:picMkLst>
        </pc:picChg>
        <pc:picChg chg="add mod">
          <ac:chgData name="Aurelien Domont" userId="6da7715ce44349b3" providerId="LiveId" clId="{CD439F51-E0E8-4B14-9E77-8A11DFB18B79}" dt="2023-06-14T02:50:07.138" v="66"/>
          <ac:picMkLst>
            <pc:docMk/>
            <pc:sldMk cId="1110778063" sldId="2183"/>
            <ac:picMk id="26" creationId="{7C35196A-723A-1FFA-A5C0-AAEC0F2FC540}"/>
          </ac:picMkLst>
        </pc:picChg>
        <pc:picChg chg="del">
          <ac:chgData name="Aurelien Domont" userId="6da7715ce44349b3" providerId="LiveId" clId="{CD439F51-E0E8-4B14-9E77-8A11DFB18B79}" dt="2023-06-14T02:50:06.431" v="65" actId="478"/>
          <ac:picMkLst>
            <pc:docMk/>
            <pc:sldMk cId="1110778063" sldId="2183"/>
            <ac:picMk id="34" creationId="{80AA7FAE-A8A0-4844-94B1-0FF8CDE8E6E8}"/>
          </ac:picMkLst>
        </pc:picChg>
        <pc:picChg chg="del">
          <ac:chgData name="Aurelien Domont" userId="6da7715ce44349b3" providerId="LiveId" clId="{CD439F51-E0E8-4B14-9E77-8A11DFB18B79}" dt="2023-06-14T02:50:06.431" v="65" actId="478"/>
          <ac:picMkLst>
            <pc:docMk/>
            <pc:sldMk cId="1110778063" sldId="2183"/>
            <ac:picMk id="35" creationId="{2F93D4AC-F457-4BE5-8BEE-0AD26CE133A6}"/>
          </ac:picMkLst>
        </pc:picChg>
        <pc:picChg chg="del">
          <ac:chgData name="Aurelien Domont" userId="6da7715ce44349b3" providerId="LiveId" clId="{CD439F51-E0E8-4B14-9E77-8A11DFB18B79}" dt="2023-06-14T02:50:06.431" v="65" actId="478"/>
          <ac:picMkLst>
            <pc:docMk/>
            <pc:sldMk cId="1110778063" sldId="2183"/>
            <ac:picMk id="36" creationId="{8FCF1F5F-C7DD-4995-AB78-8FD34690585F}"/>
          </ac:picMkLst>
        </pc:picChg>
        <pc:picChg chg="del">
          <ac:chgData name="Aurelien Domont" userId="6da7715ce44349b3" providerId="LiveId" clId="{CD439F51-E0E8-4B14-9E77-8A11DFB18B79}" dt="2023-06-14T02:50:06.431" v="65" actId="478"/>
          <ac:picMkLst>
            <pc:docMk/>
            <pc:sldMk cId="1110778063" sldId="2183"/>
            <ac:picMk id="37" creationId="{D04F496A-15FB-445A-A235-050F1C2EE43E}"/>
          </ac:picMkLst>
        </pc:picChg>
        <pc:picChg chg="del">
          <ac:chgData name="Aurelien Domont" userId="6da7715ce44349b3" providerId="LiveId" clId="{CD439F51-E0E8-4B14-9E77-8A11DFB18B79}" dt="2023-06-14T02:50:06.431" v="65" actId="478"/>
          <ac:picMkLst>
            <pc:docMk/>
            <pc:sldMk cId="1110778063" sldId="2183"/>
            <ac:picMk id="38" creationId="{D52D31FD-1F3A-4666-AE5E-D5FB82C2F493}"/>
          </ac:picMkLst>
        </pc:picChg>
        <pc:picChg chg="del">
          <ac:chgData name="Aurelien Domont" userId="6da7715ce44349b3" providerId="LiveId" clId="{CD439F51-E0E8-4B14-9E77-8A11DFB18B79}" dt="2023-06-14T02:50:06.431" v="65" actId="478"/>
          <ac:picMkLst>
            <pc:docMk/>
            <pc:sldMk cId="1110778063" sldId="2183"/>
            <ac:picMk id="49" creationId="{B57531DE-D857-49EC-91D0-FDDC937B6F2A}"/>
          </ac:picMkLst>
        </pc:picChg>
        <pc:cxnChg chg="add mod">
          <ac:chgData name="Aurelien Domont" userId="6da7715ce44349b3" providerId="LiveId" clId="{CD439F51-E0E8-4B14-9E77-8A11DFB18B79}" dt="2023-06-14T02:50:07.138" v="66"/>
          <ac:cxnSpMkLst>
            <pc:docMk/>
            <pc:sldMk cId="1110778063" sldId="2183"/>
            <ac:cxnSpMk id="15" creationId="{BAB282C0-82E9-AD0D-031C-FE5B728BC706}"/>
          </ac:cxnSpMkLst>
        </pc:cxnChg>
        <pc:cxnChg chg="add mod">
          <ac:chgData name="Aurelien Domont" userId="6da7715ce44349b3" providerId="LiveId" clId="{CD439F51-E0E8-4B14-9E77-8A11DFB18B79}" dt="2023-06-14T02:50:07.138" v="66"/>
          <ac:cxnSpMkLst>
            <pc:docMk/>
            <pc:sldMk cId="1110778063" sldId="2183"/>
            <ac:cxnSpMk id="17" creationId="{414577B0-8CE5-B874-EC3B-C502A85DC5AF}"/>
          </ac:cxnSpMkLst>
        </pc:cxnChg>
        <pc:cxnChg chg="add mod">
          <ac:chgData name="Aurelien Domont" userId="6da7715ce44349b3" providerId="LiveId" clId="{CD439F51-E0E8-4B14-9E77-8A11DFB18B79}" dt="2023-06-14T02:50:07.138" v="66"/>
          <ac:cxnSpMkLst>
            <pc:docMk/>
            <pc:sldMk cId="1110778063" sldId="2183"/>
            <ac:cxnSpMk id="18" creationId="{26B24086-AA12-1DA0-0C88-09B886FE4409}"/>
          </ac:cxnSpMkLst>
        </pc:cxnChg>
        <pc:cxnChg chg="add mod">
          <ac:chgData name="Aurelien Domont" userId="6da7715ce44349b3" providerId="LiveId" clId="{CD439F51-E0E8-4B14-9E77-8A11DFB18B79}" dt="2023-06-14T02:50:07.138" v="66"/>
          <ac:cxnSpMkLst>
            <pc:docMk/>
            <pc:sldMk cId="1110778063" sldId="2183"/>
            <ac:cxnSpMk id="19" creationId="{2970C43A-489A-6975-E948-8E48D6E3F732}"/>
          </ac:cxnSpMkLst>
        </pc:cxnChg>
        <pc:cxnChg chg="add mod">
          <ac:chgData name="Aurelien Domont" userId="6da7715ce44349b3" providerId="LiveId" clId="{CD439F51-E0E8-4B14-9E77-8A11DFB18B79}" dt="2023-06-14T02:50:07.138" v="66"/>
          <ac:cxnSpMkLst>
            <pc:docMk/>
            <pc:sldMk cId="1110778063" sldId="2183"/>
            <ac:cxnSpMk id="20" creationId="{410805EB-C78E-4C92-8E75-7E168977B068}"/>
          </ac:cxnSpMkLst>
        </pc:cxnChg>
        <pc:cxnChg chg="del">
          <ac:chgData name="Aurelien Domont" userId="6da7715ce44349b3" providerId="LiveId" clId="{CD439F51-E0E8-4B14-9E77-8A11DFB18B79}" dt="2023-06-14T02:50:06.431" v="65" actId="478"/>
          <ac:cxnSpMkLst>
            <pc:docMk/>
            <pc:sldMk cId="1110778063" sldId="2183"/>
            <ac:cxnSpMk id="39" creationId="{60C8DCDD-31E6-4BA7-B497-3DCCF23AA785}"/>
          </ac:cxnSpMkLst>
        </pc:cxnChg>
        <pc:cxnChg chg="del">
          <ac:chgData name="Aurelien Domont" userId="6da7715ce44349b3" providerId="LiveId" clId="{CD439F51-E0E8-4B14-9E77-8A11DFB18B79}" dt="2023-06-14T02:50:06.431" v="65" actId="478"/>
          <ac:cxnSpMkLst>
            <pc:docMk/>
            <pc:sldMk cId="1110778063" sldId="2183"/>
            <ac:cxnSpMk id="40" creationId="{A27DC926-5380-4197-89F6-485A6B60E5D8}"/>
          </ac:cxnSpMkLst>
        </pc:cxnChg>
        <pc:cxnChg chg="del">
          <ac:chgData name="Aurelien Domont" userId="6da7715ce44349b3" providerId="LiveId" clId="{CD439F51-E0E8-4B14-9E77-8A11DFB18B79}" dt="2023-06-14T02:50:06.431" v="65" actId="478"/>
          <ac:cxnSpMkLst>
            <pc:docMk/>
            <pc:sldMk cId="1110778063" sldId="2183"/>
            <ac:cxnSpMk id="41" creationId="{D65E369C-3B5A-420E-81AC-9FF16EA04399}"/>
          </ac:cxnSpMkLst>
        </pc:cxnChg>
        <pc:cxnChg chg="del">
          <ac:chgData name="Aurelien Domont" userId="6da7715ce44349b3" providerId="LiveId" clId="{CD439F51-E0E8-4B14-9E77-8A11DFB18B79}" dt="2023-06-14T02:50:06.431" v="65" actId="478"/>
          <ac:cxnSpMkLst>
            <pc:docMk/>
            <pc:sldMk cId="1110778063" sldId="2183"/>
            <ac:cxnSpMk id="42" creationId="{8EA4FA02-791D-43CB-9E3F-CA7FF605E6A5}"/>
          </ac:cxnSpMkLst>
        </pc:cxnChg>
        <pc:cxnChg chg="del">
          <ac:chgData name="Aurelien Domont" userId="6da7715ce44349b3" providerId="LiveId" clId="{CD439F51-E0E8-4B14-9E77-8A11DFB18B79}" dt="2023-06-14T02:50:06.431" v="65" actId="478"/>
          <ac:cxnSpMkLst>
            <pc:docMk/>
            <pc:sldMk cId="1110778063" sldId="2183"/>
            <ac:cxnSpMk id="43" creationId="{F5C98630-4C4D-4E74-9274-FA97E0AFD211}"/>
          </ac:cxnSpMkLst>
        </pc:cxnChg>
      </pc:sldChg>
      <pc:sldChg chg="addSp modSp add mod">
        <pc:chgData name="Aurelien Domont" userId="6da7715ce44349b3" providerId="LiveId" clId="{CD439F51-E0E8-4B14-9E77-8A11DFB18B79}" dt="2023-06-14T01:43:14.983" v="32" actId="1036"/>
        <pc:sldMkLst>
          <pc:docMk/>
          <pc:sldMk cId="3181436094" sldId="2258"/>
        </pc:sldMkLst>
        <pc:spChg chg="add mod">
          <ac:chgData name="Aurelien Domont" userId="6da7715ce44349b3" providerId="LiveId" clId="{CD439F51-E0E8-4B14-9E77-8A11DFB18B79}" dt="2023-06-14T01:43:14.983" v="32" actId="1036"/>
          <ac:spMkLst>
            <pc:docMk/>
            <pc:sldMk cId="3181436094" sldId="2258"/>
            <ac:spMk id="2" creationId="{C34EA82B-894F-B18A-1A1C-E49EF5381E92}"/>
          </ac:spMkLst>
        </pc:spChg>
      </pc:sldChg>
      <pc:sldChg chg="addSp delSp modSp mod">
        <pc:chgData name="Aurelien Domont" userId="6da7715ce44349b3" providerId="LiveId" clId="{CD439F51-E0E8-4B14-9E77-8A11DFB18B79}" dt="2023-06-14T02:51:08.160" v="81" actId="207"/>
        <pc:sldMkLst>
          <pc:docMk/>
          <pc:sldMk cId="269974327" sldId="2275"/>
        </pc:sldMkLst>
        <pc:spChg chg="add mod">
          <ac:chgData name="Aurelien Domont" userId="6da7715ce44349b3" providerId="LiveId" clId="{CD439F51-E0E8-4B14-9E77-8A11DFB18B79}" dt="2023-06-14T02:50:38.309" v="70" actId="207"/>
          <ac:spMkLst>
            <pc:docMk/>
            <pc:sldMk cId="269974327" sldId="2275"/>
            <ac:spMk id="2" creationId="{A805F83B-56F3-4732-C8D6-01B46F9E97BE}"/>
          </ac:spMkLst>
        </pc:spChg>
        <pc:spChg chg="add mod">
          <ac:chgData name="Aurelien Domont" userId="6da7715ce44349b3" providerId="LiveId" clId="{CD439F51-E0E8-4B14-9E77-8A11DFB18B79}" dt="2023-06-14T02:50:35.254" v="69"/>
          <ac:spMkLst>
            <pc:docMk/>
            <pc:sldMk cId="269974327" sldId="2275"/>
            <ac:spMk id="4" creationId="{F61CD57B-87F9-E5AA-587B-4F15F205DB50}"/>
          </ac:spMkLst>
        </pc:spChg>
        <pc:spChg chg="add mod">
          <ac:chgData name="Aurelien Domont" userId="6da7715ce44349b3" providerId="LiveId" clId="{CD439F51-E0E8-4B14-9E77-8A11DFB18B79}" dt="2023-06-14T02:50:35.254" v="69"/>
          <ac:spMkLst>
            <pc:docMk/>
            <pc:sldMk cId="269974327" sldId="2275"/>
            <ac:spMk id="5" creationId="{B271EE0A-8E1B-1191-691A-A2D8E22B7388}"/>
          </ac:spMkLst>
        </pc:spChg>
        <pc:spChg chg="add mod">
          <ac:chgData name="Aurelien Domont" userId="6da7715ce44349b3" providerId="LiveId" clId="{CD439F51-E0E8-4B14-9E77-8A11DFB18B79}" dt="2023-06-14T02:50:35.254" v="69"/>
          <ac:spMkLst>
            <pc:docMk/>
            <pc:sldMk cId="269974327" sldId="2275"/>
            <ac:spMk id="6" creationId="{18178DD7-E82B-BF79-4501-B16314C89E87}"/>
          </ac:spMkLst>
        </pc:spChg>
        <pc:spChg chg="add mod">
          <ac:chgData name="Aurelien Domont" userId="6da7715ce44349b3" providerId="LiveId" clId="{CD439F51-E0E8-4B14-9E77-8A11DFB18B79}" dt="2023-06-14T02:50:35.254" v="69"/>
          <ac:spMkLst>
            <pc:docMk/>
            <pc:sldMk cId="269974327" sldId="2275"/>
            <ac:spMk id="7" creationId="{3B5A7E2E-1267-983F-C1EA-8105932F8B50}"/>
          </ac:spMkLst>
        </pc:spChg>
        <pc:spChg chg="add mod">
          <ac:chgData name="Aurelien Domont" userId="6da7715ce44349b3" providerId="LiveId" clId="{CD439F51-E0E8-4B14-9E77-8A11DFB18B79}" dt="2023-06-14T02:50:35.254" v="69"/>
          <ac:spMkLst>
            <pc:docMk/>
            <pc:sldMk cId="269974327" sldId="2275"/>
            <ac:spMk id="8" creationId="{FA717BFA-05A8-ED01-6CB7-BBDB735CC91A}"/>
          </ac:spMkLst>
        </pc:spChg>
        <pc:spChg chg="add mod">
          <ac:chgData name="Aurelien Domont" userId="6da7715ce44349b3" providerId="LiveId" clId="{CD439F51-E0E8-4B14-9E77-8A11DFB18B79}" dt="2023-06-14T02:50:35.254" v="69"/>
          <ac:spMkLst>
            <pc:docMk/>
            <pc:sldMk cId="269974327" sldId="2275"/>
            <ac:spMk id="21" creationId="{7CD85CF5-404E-397E-70D8-83BA0F3B5E5E}"/>
          </ac:spMkLst>
        </pc:spChg>
        <pc:spChg chg="add mod">
          <ac:chgData name="Aurelien Domont" userId="6da7715ce44349b3" providerId="LiveId" clId="{CD439F51-E0E8-4B14-9E77-8A11DFB18B79}" dt="2023-06-14T02:50:35.254" v="69"/>
          <ac:spMkLst>
            <pc:docMk/>
            <pc:sldMk cId="269974327" sldId="2275"/>
            <ac:spMk id="22" creationId="{83C39AF7-D964-2CF5-08A3-53F41F4664E0}"/>
          </ac:spMkLst>
        </pc:spChg>
        <pc:spChg chg="add mod">
          <ac:chgData name="Aurelien Domont" userId="6da7715ce44349b3" providerId="LiveId" clId="{CD439F51-E0E8-4B14-9E77-8A11DFB18B79}" dt="2023-06-14T02:51:08.160" v="81" actId="207"/>
          <ac:spMkLst>
            <pc:docMk/>
            <pc:sldMk cId="269974327" sldId="2275"/>
            <ac:spMk id="23" creationId="{F0FBDB42-00EF-F29D-1B47-595514D8A8C1}"/>
          </ac:spMkLst>
        </pc:spChg>
        <pc:spChg chg="add mod">
          <ac:chgData name="Aurelien Domont" userId="6da7715ce44349b3" providerId="LiveId" clId="{CD439F51-E0E8-4B14-9E77-8A11DFB18B79}" dt="2023-06-14T02:50:35.254" v="69"/>
          <ac:spMkLst>
            <pc:docMk/>
            <pc:sldMk cId="269974327" sldId="2275"/>
            <ac:spMk id="24" creationId="{C5F4FA14-F859-3FD4-501E-94663384C2E8}"/>
          </ac:spMkLst>
        </pc:spChg>
        <pc:spChg chg="add mod">
          <ac:chgData name="Aurelien Domont" userId="6da7715ce44349b3" providerId="LiveId" clId="{CD439F51-E0E8-4B14-9E77-8A11DFB18B79}" dt="2023-06-14T02:50:35.254" v="69"/>
          <ac:spMkLst>
            <pc:docMk/>
            <pc:sldMk cId="269974327" sldId="2275"/>
            <ac:spMk id="25" creationId="{CB3A2E3B-C69D-0D68-3EC2-99DB3384AADD}"/>
          </ac:spMkLst>
        </pc:spChg>
        <pc:spChg chg="add mod">
          <ac:chgData name="Aurelien Domont" userId="6da7715ce44349b3" providerId="LiveId" clId="{CD439F51-E0E8-4B14-9E77-8A11DFB18B79}" dt="2023-06-14T02:50:35.254" v="69"/>
          <ac:spMkLst>
            <pc:docMk/>
            <pc:sldMk cId="269974327" sldId="2275"/>
            <ac:spMk id="27" creationId="{90BA11AA-7C89-6FD3-C8CB-883D849A777D}"/>
          </ac:spMkLst>
        </pc:spChg>
        <pc:spChg chg="del">
          <ac:chgData name="Aurelien Domont" userId="6da7715ce44349b3" providerId="LiveId" clId="{CD439F51-E0E8-4B14-9E77-8A11DFB18B79}" dt="2023-06-14T02:50:34.516" v="68" actId="478"/>
          <ac:spMkLst>
            <pc:docMk/>
            <pc:sldMk cId="269974327" sldId="2275"/>
            <ac:spMk id="28" creationId="{8F9BDE7E-730C-4EE1-89B3-9A9B2496A6C6}"/>
          </ac:spMkLst>
        </pc:spChg>
        <pc:spChg chg="del">
          <ac:chgData name="Aurelien Domont" userId="6da7715ce44349b3" providerId="LiveId" clId="{CD439F51-E0E8-4B14-9E77-8A11DFB18B79}" dt="2023-06-14T02:50:34.516" v="68" actId="478"/>
          <ac:spMkLst>
            <pc:docMk/>
            <pc:sldMk cId="269974327" sldId="2275"/>
            <ac:spMk id="29" creationId="{078EF8B0-6CE0-4835-A802-F0021CA4CD86}"/>
          </ac:spMkLst>
        </pc:spChg>
        <pc:spChg chg="del">
          <ac:chgData name="Aurelien Domont" userId="6da7715ce44349b3" providerId="LiveId" clId="{CD439F51-E0E8-4B14-9E77-8A11DFB18B79}" dt="2023-06-14T02:50:34.516" v="68" actId="478"/>
          <ac:spMkLst>
            <pc:docMk/>
            <pc:sldMk cId="269974327" sldId="2275"/>
            <ac:spMk id="30" creationId="{AE5C5FA7-A0F8-4E37-B653-5DEE20994878}"/>
          </ac:spMkLst>
        </pc:spChg>
        <pc:spChg chg="del">
          <ac:chgData name="Aurelien Domont" userId="6da7715ce44349b3" providerId="LiveId" clId="{CD439F51-E0E8-4B14-9E77-8A11DFB18B79}" dt="2023-06-14T02:50:34.516" v="68" actId="478"/>
          <ac:spMkLst>
            <pc:docMk/>
            <pc:sldMk cId="269974327" sldId="2275"/>
            <ac:spMk id="31" creationId="{9C6E01BE-5D06-49F2-977D-AAFECF30CA00}"/>
          </ac:spMkLst>
        </pc:spChg>
        <pc:spChg chg="del">
          <ac:chgData name="Aurelien Domont" userId="6da7715ce44349b3" providerId="LiveId" clId="{CD439F51-E0E8-4B14-9E77-8A11DFB18B79}" dt="2023-06-14T02:50:34.516" v="68" actId="478"/>
          <ac:spMkLst>
            <pc:docMk/>
            <pc:sldMk cId="269974327" sldId="2275"/>
            <ac:spMk id="32" creationId="{65212FAF-8972-4CA9-8F39-A75479F25D95}"/>
          </ac:spMkLst>
        </pc:spChg>
        <pc:spChg chg="del">
          <ac:chgData name="Aurelien Domont" userId="6da7715ce44349b3" providerId="LiveId" clId="{CD439F51-E0E8-4B14-9E77-8A11DFB18B79}" dt="2023-06-14T02:50:34.516" v="68" actId="478"/>
          <ac:spMkLst>
            <pc:docMk/>
            <pc:sldMk cId="269974327" sldId="2275"/>
            <ac:spMk id="33" creationId="{5C134501-0C0B-4D44-BFA9-EFE5E4074136}"/>
          </ac:spMkLst>
        </pc:spChg>
        <pc:spChg chg="del">
          <ac:chgData name="Aurelien Domont" userId="6da7715ce44349b3" providerId="LiveId" clId="{CD439F51-E0E8-4B14-9E77-8A11DFB18B79}" dt="2023-06-14T02:50:34.516" v="68" actId="478"/>
          <ac:spMkLst>
            <pc:docMk/>
            <pc:sldMk cId="269974327" sldId="2275"/>
            <ac:spMk id="44" creationId="{031206D3-8DE3-4373-9529-10DD6BCF69E0}"/>
          </ac:spMkLst>
        </pc:spChg>
        <pc:spChg chg="del">
          <ac:chgData name="Aurelien Domont" userId="6da7715ce44349b3" providerId="LiveId" clId="{CD439F51-E0E8-4B14-9E77-8A11DFB18B79}" dt="2023-06-14T02:50:34.516" v="68" actId="478"/>
          <ac:spMkLst>
            <pc:docMk/>
            <pc:sldMk cId="269974327" sldId="2275"/>
            <ac:spMk id="45" creationId="{1ECD97B7-8C35-450A-A45B-A9685E355ED3}"/>
          </ac:spMkLst>
        </pc:spChg>
        <pc:spChg chg="del">
          <ac:chgData name="Aurelien Domont" userId="6da7715ce44349b3" providerId="LiveId" clId="{CD439F51-E0E8-4B14-9E77-8A11DFB18B79}" dt="2023-06-14T02:50:34.516" v="68" actId="478"/>
          <ac:spMkLst>
            <pc:docMk/>
            <pc:sldMk cId="269974327" sldId="2275"/>
            <ac:spMk id="46" creationId="{AF78A30E-1CE8-4045-BC75-7F6B2908A6B0}"/>
          </ac:spMkLst>
        </pc:spChg>
        <pc:spChg chg="del">
          <ac:chgData name="Aurelien Domont" userId="6da7715ce44349b3" providerId="LiveId" clId="{CD439F51-E0E8-4B14-9E77-8A11DFB18B79}" dt="2023-06-14T02:50:34.516" v="68" actId="478"/>
          <ac:spMkLst>
            <pc:docMk/>
            <pc:sldMk cId="269974327" sldId="2275"/>
            <ac:spMk id="47" creationId="{EBDE75AA-0BD1-4C3B-A59B-A53E267A2848}"/>
          </ac:spMkLst>
        </pc:spChg>
        <pc:spChg chg="del">
          <ac:chgData name="Aurelien Domont" userId="6da7715ce44349b3" providerId="LiveId" clId="{CD439F51-E0E8-4B14-9E77-8A11DFB18B79}" dt="2023-06-14T02:50:34.516" v="68" actId="478"/>
          <ac:spMkLst>
            <pc:docMk/>
            <pc:sldMk cId="269974327" sldId="2275"/>
            <ac:spMk id="48" creationId="{A1EAD102-98DE-40D0-ACE3-99A379D68ABF}"/>
          </ac:spMkLst>
        </pc:spChg>
        <pc:spChg chg="del">
          <ac:chgData name="Aurelien Domont" userId="6da7715ce44349b3" providerId="LiveId" clId="{CD439F51-E0E8-4B14-9E77-8A11DFB18B79}" dt="2023-06-14T02:50:34.516" v="68" actId="478"/>
          <ac:spMkLst>
            <pc:docMk/>
            <pc:sldMk cId="269974327" sldId="2275"/>
            <ac:spMk id="50" creationId="{0D05D79D-0878-4B39-A352-4415BD8534FA}"/>
          </ac:spMkLst>
        </pc:spChg>
        <pc:spChg chg="del">
          <ac:chgData name="Aurelien Domont" userId="6da7715ce44349b3" providerId="LiveId" clId="{CD439F51-E0E8-4B14-9E77-8A11DFB18B79}" dt="2023-06-14T02:50:34.516" v="68" actId="478"/>
          <ac:spMkLst>
            <pc:docMk/>
            <pc:sldMk cId="269974327" sldId="2275"/>
            <ac:spMk id="51" creationId="{68B158B8-7CF3-468D-B984-74FB7B51383C}"/>
          </ac:spMkLst>
        </pc:spChg>
        <pc:picChg chg="add mod">
          <ac:chgData name="Aurelien Domont" userId="6da7715ce44349b3" providerId="LiveId" clId="{CD439F51-E0E8-4B14-9E77-8A11DFB18B79}" dt="2023-06-14T02:50:35.254" v="69"/>
          <ac:picMkLst>
            <pc:docMk/>
            <pc:sldMk cId="269974327" sldId="2275"/>
            <ac:picMk id="9" creationId="{8BCE0EA7-8409-7B5F-1F8E-73445B227D89}"/>
          </ac:picMkLst>
        </pc:picChg>
        <pc:picChg chg="add mod">
          <ac:chgData name="Aurelien Domont" userId="6da7715ce44349b3" providerId="LiveId" clId="{CD439F51-E0E8-4B14-9E77-8A11DFB18B79}" dt="2023-06-14T02:50:35.254" v="69"/>
          <ac:picMkLst>
            <pc:docMk/>
            <pc:sldMk cId="269974327" sldId="2275"/>
            <ac:picMk id="10" creationId="{5ADEE204-7280-9A62-53A1-7F7DB5F551E0}"/>
          </ac:picMkLst>
        </pc:picChg>
        <pc:picChg chg="add mod">
          <ac:chgData name="Aurelien Domont" userId="6da7715ce44349b3" providerId="LiveId" clId="{CD439F51-E0E8-4B14-9E77-8A11DFB18B79}" dt="2023-06-14T02:50:35.254" v="69"/>
          <ac:picMkLst>
            <pc:docMk/>
            <pc:sldMk cId="269974327" sldId="2275"/>
            <ac:picMk id="11" creationId="{7F8BD381-44B7-71F4-15F2-A35DD8AA7659}"/>
          </ac:picMkLst>
        </pc:picChg>
        <pc:picChg chg="add mod">
          <ac:chgData name="Aurelien Domont" userId="6da7715ce44349b3" providerId="LiveId" clId="{CD439F51-E0E8-4B14-9E77-8A11DFB18B79}" dt="2023-06-14T02:50:35.254" v="69"/>
          <ac:picMkLst>
            <pc:docMk/>
            <pc:sldMk cId="269974327" sldId="2275"/>
            <ac:picMk id="12" creationId="{DEC2C730-8922-7853-4498-CA5C45AAEB61}"/>
          </ac:picMkLst>
        </pc:picChg>
        <pc:picChg chg="add mod">
          <ac:chgData name="Aurelien Domont" userId="6da7715ce44349b3" providerId="LiveId" clId="{CD439F51-E0E8-4B14-9E77-8A11DFB18B79}" dt="2023-06-14T02:50:35.254" v="69"/>
          <ac:picMkLst>
            <pc:docMk/>
            <pc:sldMk cId="269974327" sldId="2275"/>
            <ac:picMk id="14" creationId="{4897546D-2580-030B-21EC-572FB533EFCD}"/>
          </ac:picMkLst>
        </pc:picChg>
        <pc:picChg chg="add mod">
          <ac:chgData name="Aurelien Domont" userId="6da7715ce44349b3" providerId="LiveId" clId="{CD439F51-E0E8-4B14-9E77-8A11DFB18B79}" dt="2023-06-14T02:50:35.254" v="69"/>
          <ac:picMkLst>
            <pc:docMk/>
            <pc:sldMk cId="269974327" sldId="2275"/>
            <ac:picMk id="26" creationId="{847B4F26-49F4-6B0B-4DDF-AD15CC6BEBA9}"/>
          </ac:picMkLst>
        </pc:picChg>
        <pc:picChg chg="del">
          <ac:chgData name="Aurelien Domont" userId="6da7715ce44349b3" providerId="LiveId" clId="{CD439F51-E0E8-4B14-9E77-8A11DFB18B79}" dt="2023-06-14T02:50:34.516" v="68" actId="478"/>
          <ac:picMkLst>
            <pc:docMk/>
            <pc:sldMk cId="269974327" sldId="2275"/>
            <ac:picMk id="34" creationId="{80AA7FAE-A8A0-4844-94B1-0FF8CDE8E6E8}"/>
          </ac:picMkLst>
        </pc:picChg>
        <pc:picChg chg="del">
          <ac:chgData name="Aurelien Domont" userId="6da7715ce44349b3" providerId="LiveId" clId="{CD439F51-E0E8-4B14-9E77-8A11DFB18B79}" dt="2023-06-14T02:50:34.516" v="68" actId="478"/>
          <ac:picMkLst>
            <pc:docMk/>
            <pc:sldMk cId="269974327" sldId="2275"/>
            <ac:picMk id="35" creationId="{2F93D4AC-F457-4BE5-8BEE-0AD26CE133A6}"/>
          </ac:picMkLst>
        </pc:picChg>
        <pc:picChg chg="del">
          <ac:chgData name="Aurelien Domont" userId="6da7715ce44349b3" providerId="LiveId" clId="{CD439F51-E0E8-4B14-9E77-8A11DFB18B79}" dt="2023-06-14T02:50:34.516" v="68" actId="478"/>
          <ac:picMkLst>
            <pc:docMk/>
            <pc:sldMk cId="269974327" sldId="2275"/>
            <ac:picMk id="36" creationId="{8FCF1F5F-C7DD-4995-AB78-8FD34690585F}"/>
          </ac:picMkLst>
        </pc:picChg>
        <pc:picChg chg="del">
          <ac:chgData name="Aurelien Domont" userId="6da7715ce44349b3" providerId="LiveId" clId="{CD439F51-E0E8-4B14-9E77-8A11DFB18B79}" dt="2023-06-14T02:50:34.516" v="68" actId="478"/>
          <ac:picMkLst>
            <pc:docMk/>
            <pc:sldMk cId="269974327" sldId="2275"/>
            <ac:picMk id="37" creationId="{D04F496A-15FB-445A-A235-050F1C2EE43E}"/>
          </ac:picMkLst>
        </pc:picChg>
        <pc:picChg chg="del">
          <ac:chgData name="Aurelien Domont" userId="6da7715ce44349b3" providerId="LiveId" clId="{CD439F51-E0E8-4B14-9E77-8A11DFB18B79}" dt="2023-06-14T02:50:34.516" v="68" actId="478"/>
          <ac:picMkLst>
            <pc:docMk/>
            <pc:sldMk cId="269974327" sldId="2275"/>
            <ac:picMk id="38" creationId="{D52D31FD-1F3A-4666-AE5E-D5FB82C2F493}"/>
          </ac:picMkLst>
        </pc:picChg>
        <pc:picChg chg="del">
          <ac:chgData name="Aurelien Domont" userId="6da7715ce44349b3" providerId="LiveId" clId="{CD439F51-E0E8-4B14-9E77-8A11DFB18B79}" dt="2023-06-14T02:50:34.516" v="68" actId="478"/>
          <ac:picMkLst>
            <pc:docMk/>
            <pc:sldMk cId="269974327" sldId="2275"/>
            <ac:picMk id="49" creationId="{B57531DE-D857-49EC-91D0-FDDC937B6F2A}"/>
          </ac:picMkLst>
        </pc:picChg>
        <pc:cxnChg chg="add mod">
          <ac:chgData name="Aurelien Domont" userId="6da7715ce44349b3" providerId="LiveId" clId="{CD439F51-E0E8-4B14-9E77-8A11DFB18B79}" dt="2023-06-14T02:50:35.254" v="69"/>
          <ac:cxnSpMkLst>
            <pc:docMk/>
            <pc:sldMk cId="269974327" sldId="2275"/>
            <ac:cxnSpMk id="15" creationId="{F7DF67A2-0519-777E-31DE-47425ED169EC}"/>
          </ac:cxnSpMkLst>
        </pc:cxnChg>
        <pc:cxnChg chg="add mod">
          <ac:chgData name="Aurelien Domont" userId="6da7715ce44349b3" providerId="LiveId" clId="{CD439F51-E0E8-4B14-9E77-8A11DFB18B79}" dt="2023-06-14T02:50:35.254" v="69"/>
          <ac:cxnSpMkLst>
            <pc:docMk/>
            <pc:sldMk cId="269974327" sldId="2275"/>
            <ac:cxnSpMk id="17" creationId="{137908B5-BD39-04C4-3D64-0EFEFE69C7AC}"/>
          </ac:cxnSpMkLst>
        </pc:cxnChg>
        <pc:cxnChg chg="add mod">
          <ac:chgData name="Aurelien Domont" userId="6da7715ce44349b3" providerId="LiveId" clId="{CD439F51-E0E8-4B14-9E77-8A11DFB18B79}" dt="2023-06-14T02:50:35.254" v="69"/>
          <ac:cxnSpMkLst>
            <pc:docMk/>
            <pc:sldMk cId="269974327" sldId="2275"/>
            <ac:cxnSpMk id="18" creationId="{4C1DACED-55E7-7BE1-0847-D2671B72802F}"/>
          </ac:cxnSpMkLst>
        </pc:cxnChg>
        <pc:cxnChg chg="add mod">
          <ac:chgData name="Aurelien Domont" userId="6da7715ce44349b3" providerId="LiveId" clId="{CD439F51-E0E8-4B14-9E77-8A11DFB18B79}" dt="2023-06-14T02:50:35.254" v="69"/>
          <ac:cxnSpMkLst>
            <pc:docMk/>
            <pc:sldMk cId="269974327" sldId="2275"/>
            <ac:cxnSpMk id="19" creationId="{BEBECA2F-A321-19D2-0AE8-6253AC3DD7C2}"/>
          </ac:cxnSpMkLst>
        </pc:cxnChg>
        <pc:cxnChg chg="add mod">
          <ac:chgData name="Aurelien Domont" userId="6da7715ce44349b3" providerId="LiveId" clId="{CD439F51-E0E8-4B14-9E77-8A11DFB18B79}" dt="2023-06-14T02:50:35.254" v="69"/>
          <ac:cxnSpMkLst>
            <pc:docMk/>
            <pc:sldMk cId="269974327" sldId="2275"/>
            <ac:cxnSpMk id="20" creationId="{1C51E6AC-2F76-1930-9C07-23AF2B405F45}"/>
          </ac:cxnSpMkLst>
        </pc:cxnChg>
        <pc:cxnChg chg="del">
          <ac:chgData name="Aurelien Domont" userId="6da7715ce44349b3" providerId="LiveId" clId="{CD439F51-E0E8-4B14-9E77-8A11DFB18B79}" dt="2023-06-14T02:50:34.516" v="68" actId="478"/>
          <ac:cxnSpMkLst>
            <pc:docMk/>
            <pc:sldMk cId="269974327" sldId="2275"/>
            <ac:cxnSpMk id="39" creationId="{60C8DCDD-31E6-4BA7-B497-3DCCF23AA785}"/>
          </ac:cxnSpMkLst>
        </pc:cxnChg>
        <pc:cxnChg chg="del">
          <ac:chgData name="Aurelien Domont" userId="6da7715ce44349b3" providerId="LiveId" clId="{CD439F51-E0E8-4B14-9E77-8A11DFB18B79}" dt="2023-06-14T02:50:34.516" v="68" actId="478"/>
          <ac:cxnSpMkLst>
            <pc:docMk/>
            <pc:sldMk cId="269974327" sldId="2275"/>
            <ac:cxnSpMk id="40" creationId="{A27DC926-5380-4197-89F6-485A6B60E5D8}"/>
          </ac:cxnSpMkLst>
        </pc:cxnChg>
        <pc:cxnChg chg="del">
          <ac:chgData name="Aurelien Domont" userId="6da7715ce44349b3" providerId="LiveId" clId="{CD439F51-E0E8-4B14-9E77-8A11DFB18B79}" dt="2023-06-14T02:50:34.516" v="68" actId="478"/>
          <ac:cxnSpMkLst>
            <pc:docMk/>
            <pc:sldMk cId="269974327" sldId="2275"/>
            <ac:cxnSpMk id="41" creationId="{D65E369C-3B5A-420E-81AC-9FF16EA04399}"/>
          </ac:cxnSpMkLst>
        </pc:cxnChg>
        <pc:cxnChg chg="del">
          <ac:chgData name="Aurelien Domont" userId="6da7715ce44349b3" providerId="LiveId" clId="{CD439F51-E0E8-4B14-9E77-8A11DFB18B79}" dt="2023-06-14T02:50:34.516" v="68" actId="478"/>
          <ac:cxnSpMkLst>
            <pc:docMk/>
            <pc:sldMk cId="269974327" sldId="2275"/>
            <ac:cxnSpMk id="42" creationId="{8EA4FA02-791D-43CB-9E3F-CA7FF605E6A5}"/>
          </ac:cxnSpMkLst>
        </pc:cxnChg>
        <pc:cxnChg chg="del">
          <ac:chgData name="Aurelien Domont" userId="6da7715ce44349b3" providerId="LiveId" clId="{CD439F51-E0E8-4B14-9E77-8A11DFB18B79}" dt="2023-06-14T02:50:34.516" v="68" actId="478"/>
          <ac:cxnSpMkLst>
            <pc:docMk/>
            <pc:sldMk cId="269974327" sldId="2275"/>
            <ac:cxnSpMk id="43" creationId="{F5C98630-4C4D-4E74-9274-FA97E0AFD211}"/>
          </ac:cxnSpMkLst>
        </pc:cxnChg>
      </pc:sldChg>
      <pc:sldChg chg="del">
        <pc:chgData name="Aurelien Domont" userId="6da7715ce44349b3" providerId="LiveId" clId="{CD439F51-E0E8-4B14-9E77-8A11DFB18B79}" dt="2023-06-14T02:50:44.272" v="72" actId="47"/>
        <pc:sldMkLst>
          <pc:docMk/>
          <pc:sldMk cId="1823550066" sldId="2276"/>
        </pc:sldMkLst>
      </pc:sldChg>
      <pc:sldChg chg="del">
        <pc:chgData name="Aurelien Domont" userId="6da7715ce44349b3" providerId="LiveId" clId="{CD439F51-E0E8-4B14-9E77-8A11DFB18B79}" dt="2023-06-14T02:50:48.106" v="74" actId="47"/>
        <pc:sldMkLst>
          <pc:docMk/>
          <pc:sldMk cId="2142042928" sldId="2277"/>
        </pc:sldMkLst>
      </pc:sldChg>
      <pc:sldChg chg="del">
        <pc:chgData name="Aurelien Domont" userId="6da7715ce44349b3" providerId="LiveId" clId="{CD439F51-E0E8-4B14-9E77-8A11DFB18B79}" dt="2023-06-14T02:50:51.538" v="76" actId="47"/>
        <pc:sldMkLst>
          <pc:docMk/>
          <pc:sldMk cId="1102897466" sldId="2278"/>
        </pc:sldMkLst>
      </pc:sldChg>
      <pc:sldChg chg="del">
        <pc:chgData name="Aurelien Domont" userId="6da7715ce44349b3" providerId="LiveId" clId="{CD439F51-E0E8-4B14-9E77-8A11DFB18B79}" dt="2023-06-14T02:50:56.146" v="78" actId="47"/>
        <pc:sldMkLst>
          <pc:docMk/>
          <pc:sldMk cId="873032743" sldId="2279"/>
        </pc:sldMkLst>
      </pc:sldChg>
      <pc:sldChg chg="del">
        <pc:chgData name="Aurelien Domont" userId="6da7715ce44349b3" providerId="LiveId" clId="{CD439F51-E0E8-4B14-9E77-8A11DFB18B79}" dt="2023-06-14T02:50:59.553" v="80" actId="47"/>
        <pc:sldMkLst>
          <pc:docMk/>
          <pc:sldMk cId="1345028840" sldId="2280"/>
        </pc:sldMkLst>
      </pc:sldChg>
      <pc:sldChg chg="add">
        <pc:chgData name="Aurelien Domont" userId="6da7715ce44349b3" providerId="LiveId" clId="{CD439F51-E0E8-4B14-9E77-8A11DFB18B79}" dt="2023-06-14T01:41:22.179" v="0"/>
        <pc:sldMkLst>
          <pc:docMk/>
          <pc:sldMk cId="654898064" sldId="2365"/>
        </pc:sldMkLst>
      </pc:sldChg>
      <pc:sldChg chg="addSp modSp add mod">
        <pc:chgData name="Aurelien Domont" userId="6da7715ce44349b3" providerId="LiveId" clId="{CD439F51-E0E8-4B14-9E77-8A11DFB18B79}" dt="2023-06-14T01:43:09.628" v="31" actId="1036"/>
        <pc:sldMkLst>
          <pc:docMk/>
          <pc:sldMk cId="3279710108" sldId="2366"/>
        </pc:sldMkLst>
        <pc:spChg chg="add mod">
          <ac:chgData name="Aurelien Domont" userId="6da7715ce44349b3" providerId="LiveId" clId="{CD439F51-E0E8-4B14-9E77-8A11DFB18B79}" dt="2023-06-14T01:43:09.628" v="31" actId="1036"/>
          <ac:spMkLst>
            <pc:docMk/>
            <pc:sldMk cId="3279710108" sldId="2366"/>
            <ac:spMk id="2" creationId="{C27C4128-B635-8A50-EA11-82B4F982F2DA}"/>
          </ac:spMkLst>
        </pc:spChg>
      </pc:sldChg>
      <pc:sldChg chg="addSp modSp add">
        <pc:chgData name="Aurelien Domont" userId="6da7715ce44349b3" providerId="LiveId" clId="{CD439F51-E0E8-4B14-9E77-8A11DFB18B79}" dt="2023-06-14T01:43:40.158" v="34"/>
        <pc:sldMkLst>
          <pc:docMk/>
          <pc:sldMk cId="1644287808" sldId="2367"/>
        </pc:sldMkLst>
        <pc:spChg chg="add mod">
          <ac:chgData name="Aurelien Domont" userId="6da7715ce44349b3" providerId="LiveId" clId="{CD439F51-E0E8-4B14-9E77-8A11DFB18B79}" dt="2023-06-14T01:43:40.158" v="34"/>
          <ac:spMkLst>
            <pc:docMk/>
            <pc:sldMk cId="1644287808" sldId="2367"/>
            <ac:spMk id="5" creationId="{E04F0EBA-7932-2202-73EA-8FA1B9F88940}"/>
          </ac:spMkLst>
        </pc:spChg>
      </pc:sldChg>
      <pc:sldChg chg="addSp modSp add">
        <pc:chgData name="Aurelien Domont" userId="6da7715ce44349b3" providerId="LiveId" clId="{CD439F51-E0E8-4B14-9E77-8A11DFB18B79}" dt="2023-06-14T01:43:52.714" v="36"/>
        <pc:sldMkLst>
          <pc:docMk/>
          <pc:sldMk cId="2368580990" sldId="2368"/>
        </pc:sldMkLst>
        <pc:spChg chg="add mod">
          <ac:chgData name="Aurelien Domont" userId="6da7715ce44349b3" providerId="LiveId" clId="{CD439F51-E0E8-4B14-9E77-8A11DFB18B79}" dt="2023-06-14T01:43:52.714" v="36"/>
          <ac:spMkLst>
            <pc:docMk/>
            <pc:sldMk cId="2368580990" sldId="2368"/>
            <ac:spMk id="3" creationId="{C25E0020-5FE7-1DDA-3B37-3D0ED967B88C}"/>
          </ac:spMkLst>
        </pc:spChg>
      </pc:sldChg>
      <pc:sldChg chg="addSp modSp add mod">
        <pc:chgData name="Aurelien Domont" userId="6da7715ce44349b3" providerId="LiveId" clId="{CD439F51-E0E8-4B14-9E77-8A11DFB18B79}" dt="2023-06-14T01:45:52.143" v="60" actId="1036"/>
        <pc:sldMkLst>
          <pc:docMk/>
          <pc:sldMk cId="676865853" sldId="2369"/>
        </pc:sldMkLst>
        <pc:spChg chg="add mod">
          <ac:chgData name="Aurelien Domont" userId="6da7715ce44349b3" providerId="LiveId" clId="{CD439F51-E0E8-4B14-9E77-8A11DFB18B79}" dt="2023-06-14T01:45:52.143" v="60" actId="1036"/>
          <ac:spMkLst>
            <pc:docMk/>
            <pc:sldMk cId="676865853" sldId="2369"/>
            <ac:spMk id="3" creationId="{6BAC021A-C011-E776-EFF3-61F514C9790C}"/>
          </ac:spMkLst>
        </pc:spChg>
      </pc:sldChg>
      <pc:sldChg chg="addSp delSp modSp add mod">
        <pc:chgData name="Aurelien Domont" userId="6da7715ce44349b3" providerId="LiveId" clId="{CD439F51-E0E8-4B14-9E77-8A11DFB18B79}" dt="2023-06-14T01:45:55.305" v="62"/>
        <pc:sldMkLst>
          <pc:docMk/>
          <pc:sldMk cId="3254798651" sldId="2370"/>
        </pc:sldMkLst>
        <pc:spChg chg="add del mod">
          <ac:chgData name="Aurelien Domont" userId="6da7715ce44349b3" providerId="LiveId" clId="{CD439F51-E0E8-4B14-9E77-8A11DFB18B79}" dt="2023-06-14T01:45:55.038" v="61" actId="478"/>
          <ac:spMkLst>
            <pc:docMk/>
            <pc:sldMk cId="3254798651" sldId="2370"/>
            <ac:spMk id="3" creationId="{B6D3E4AA-AE8E-A0FB-3AB2-25EA740269FE}"/>
          </ac:spMkLst>
        </pc:spChg>
        <pc:spChg chg="add mod">
          <ac:chgData name="Aurelien Domont" userId="6da7715ce44349b3" providerId="LiveId" clId="{CD439F51-E0E8-4B14-9E77-8A11DFB18B79}" dt="2023-06-14T01:45:55.305" v="62"/>
          <ac:spMkLst>
            <pc:docMk/>
            <pc:sldMk cId="3254798651" sldId="2370"/>
            <ac:spMk id="4" creationId="{E6D37296-8F7E-6818-30AD-853A3267440E}"/>
          </ac:spMkLst>
        </pc:spChg>
      </pc:sldChg>
      <pc:sldChg chg="addSp delSp modSp add mod">
        <pc:chgData name="Aurelien Domont" userId="6da7715ce44349b3" providerId="LiveId" clId="{CD439F51-E0E8-4B14-9E77-8A11DFB18B79}" dt="2023-06-14T01:45:58.077" v="64"/>
        <pc:sldMkLst>
          <pc:docMk/>
          <pc:sldMk cId="3297208493" sldId="2371"/>
        </pc:sldMkLst>
        <pc:spChg chg="add del mod">
          <ac:chgData name="Aurelien Domont" userId="6da7715ce44349b3" providerId="LiveId" clId="{CD439F51-E0E8-4B14-9E77-8A11DFB18B79}" dt="2023-06-14T01:45:57.875" v="63" actId="478"/>
          <ac:spMkLst>
            <pc:docMk/>
            <pc:sldMk cId="3297208493" sldId="2371"/>
            <ac:spMk id="4" creationId="{B862E828-C760-23AE-E1AC-87A292A814CB}"/>
          </ac:spMkLst>
        </pc:spChg>
        <pc:spChg chg="add mod">
          <ac:chgData name="Aurelien Domont" userId="6da7715ce44349b3" providerId="LiveId" clId="{CD439F51-E0E8-4B14-9E77-8A11DFB18B79}" dt="2023-06-14T01:45:58.077" v="64"/>
          <ac:spMkLst>
            <pc:docMk/>
            <pc:sldMk cId="3297208493" sldId="2371"/>
            <ac:spMk id="5" creationId="{30ED8265-B232-0DBD-1C96-37A21E821525}"/>
          </ac:spMkLst>
        </pc:spChg>
      </pc:sldChg>
      <pc:sldChg chg="modSp add mod">
        <pc:chgData name="Aurelien Domont" userId="6da7715ce44349b3" providerId="LiveId" clId="{CD439F51-E0E8-4B14-9E77-8A11DFB18B79}" dt="2023-06-14T02:51:13.471" v="82" actId="207"/>
        <pc:sldMkLst>
          <pc:docMk/>
          <pc:sldMk cId="1453584108" sldId="2372"/>
        </pc:sldMkLst>
        <pc:spChg chg="mod">
          <ac:chgData name="Aurelien Domont" userId="6da7715ce44349b3" providerId="LiveId" clId="{CD439F51-E0E8-4B14-9E77-8A11DFB18B79}" dt="2023-06-14T02:51:13.471" v="82" actId="207"/>
          <ac:spMkLst>
            <pc:docMk/>
            <pc:sldMk cId="1453584108" sldId="2372"/>
            <ac:spMk id="23" creationId="{F0FBDB42-00EF-F29D-1B47-595514D8A8C1}"/>
          </ac:spMkLst>
        </pc:spChg>
      </pc:sldChg>
      <pc:sldChg chg="modSp add mod">
        <pc:chgData name="Aurelien Domont" userId="6da7715ce44349b3" providerId="LiveId" clId="{CD439F51-E0E8-4B14-9E77-8A11DFB18B79}" dt="2023-06-14T02:51:17.049" v="83" actId="207"/>
        <pc:sldMkLst>
          <pc:docMk/>
          <pc:sldMk cId="4045172900" sldId="2373"/>
        </pc:sldMkLst>
        <pc:spChg chg="mod">
          <ac:chgData name="Aurelien Domont" userId="6da7715ce44349b3" providerId="LiveId" clId="{CD439F51-E0E8-4B14-9E77-8A11DFB18B79}" dt="2023-06-14T02:51:17.049" v="83" actId="207"/>
          <ac:spMkLst>
            <pc:docMk/>
            <pc:sldMk cId="4045172900" sldId="2373"/>
            <ac:spMk id="23" creationId="{F0FBDB42-00EF-F29D-1B47-595514D8A8C1}"/>
          </ac:spMkLst>
        </pc:spChg>
      </pc:sldChg>
      <pc:sldChg chg="modSp add mod">
        <pc:chgData name="Aurelien Domont" userId="6da7715ce44349b3" providerId="LiveId" clId="{CD439F51-E0E8-4B14-9E77-8A11DFB18B79}" dt="2023-06-14T02:51:21.119" v="84" actId="207"/>
        <pc:sldMkLst>
          <pc:docMk/>
          <pc:sldMk cId="1707817333" sldId="2374"/>
        </pc:sldMkLst>
        <pc:spChg chg="mod">
          <ac:chgData name="Aurelien Domont" userId="6da7715ce44349b3" providerId="LiveId" clId="{CD439F51-E0E8-4B14-9E77-8A11DFB18B79}" dt="2023-06-14T02:51:21.119" v="84" actId="207"/>
          <ac:spMkLst>
            <pc:docMk/>
            <pc:sldMk cId="1707817333" sldId="2374"/>
            <ac:spMk id="23" creationId="{F0FBDB42-00EF-F29D-1B47-595514D8A8C1}"/>
          </ac:spMkLst>
        </pc:spChg>
      </pc:sldChg>
      <pc:sldChg chg="modSp add mod">
        <pc:chgData name="Aurelien Domont" userId="6da7715ce44349b3" providerId="LiveId" clId="{CD439F51-E0E8-4B14-9E77-8A11DFB18B79}" dt="2023-06-14T02:51:27.945" v="85" actId="207"/>
        <pc:sldMkLst>
          <pc:docMk/>
          <pc:sldMk cId="982643287" sldId="2375"/>
        </pc:sldMkLst>
        <pc:spChg chg="mod">
          <ac:chgData name="Aurelien Domont" userId="6da7715ce44349b3" providerId="LiveId" clId="{CD439F51-E0E8-4B14-9E77-8A11DFB18B79}" dt="2023-06-14T02:51:27.945" v="85" actId="207"/>
          <ac:spMkLst>
            <pc:docMk/>
            <pc:sldMk cId="982643287" sldId="2375"/>
            <ac:spMk id="23" creationId="{F0FBDB42-00EF-F29D-1B47-595514D8A8C1}"/>
          </ac:spMkLst>
        </pc:spChg>
      </pc:sldChg>
      <pc:sldChg chg="modSp add mod">
        <pc:chgData name="Aurelien Domont" userId="6da7715ce44349b3" providerId="LiveId" clId="{CD439F51-E0E8-4B14-9E77-8A11DFB18B79}" dt="2023-06-14T02:51:37.165" v="86" actId="207"/>
        <pc:sldMkLst>
          <pc:docMk/>
          <pc:sldMk cId="1248379911" sldId="2376"/>
        </pc:sldMkLst>
        <pc:spChg chg="mod">
          <ac:chgData name="Aurelien Domont" userId="6da7715ce44349b3" providerId="LiveId" clId="{CD439F51-E0E8-4B14-9E77-8A11DFB18B79}" dt="2023-06-14T02:51:37.165" v="86" actId="207"/>
          <ac:spMkLst>
            <pc:docMk/>
            <pc:sldMk cId="1248379911" sldId="2376"/>
            <ac:spMk id="23" creationId="{F0FBDB42-00EF-F29D-1B47-595514D8A8C1}"/>
          </ac:spMkLst>
        </pc:spChg>
      </pc:sldChg>
    </pc:docChg>
  </pc:docChgLst>
  <pc:docChgLst>
    <pc:chgData name="Aurelien Domont" userId="6da7715ce44349b3" providerId="LiveId" clId="{E6277905-FCCE-4B88-BAD6-C5854D60B696}"/>
    <pc:docChg chg="undo redo custSel addSld delSld modSld">
      <pc:chgData name="Aurelien Domont" userId="6da7715ce44349b3" providerId="LiveId" clId="{E6277905-FCCE-4B88-BAD6-C5854D60B696}" dt="2021-05-19T07:21:25.037" v="1775" actId="313"/>
      <pc:docMkLst>
        <pc:docMk/>
      </pc:docMkLst>
      <pc:sldChg chg="addSp delSp modSp mod">
        <pc:chgData name="Aurelien Domont" userId="6da7715ce44349b3" providerId="LiveId" clId="{E6277905-FCCE-4B88-BAD6-C5854D60B696}" dt="2021-05-19T07:19:08.012" v="1774" actId="1076"/>
        <pc:sldMkLst>
          <pc:docMk/>
          <pc:sldMk cId="3131901387" sldId="256"/>
        </pc:sldMkLst>
        <pc:spChg chg="mod">
          <ac:chgData name="Aurelien Domont" userId="6da7715ce44349b3" providerId="LiveId" clId="{E6277905-FCCE-4B88-BAD6-C5854D60B696}" dt="2021-05-18T05:40:48.610" v="19" actId="20577"/>
          <ac:spMkLst>
            <pc:docMk/>
            <pc:sldMk cId="3131901387" sldId="256"/>
            <ac:spMk id="2" creationId="{5261080C-C60C-4746-B6B1-A9A4FFA86785}"/>
          </ac:spMkLst>
        </pc:spChg>
        <pc:picChg chg="add del">
          <ac:chgData name="Aurelien Domont" userId="6da7715ce44349b3" providerId="LiveId" clId="{E6277905-FCCE-4B88-BAD6-C5854D60B696}" dt="2021-05-19T07:00:28.700" v="1158" actId="478"/>
          <ac:picMkLst>
            <pc:docMk/>
            <pc:sldMk cId="3131901387" sldId="256"/>
            <ac:picMk id="13" creationId="{6E38BFE1-56A4-4E55-BEE6-88950EB7A801}"/>
          </ac:picMkLst>
        </pc:picChg>
        <pc:picChg chg="add mod">
          <ac:chgData name="Aurelien Domont" userId="6da7715ce44349b3" providerId="LiveId" clId="{E6277905-FCCE-4B88-BAD6-C5854D60B696}" dt="2021-05-19T07:19:08.012" v="1774" actId="1076"/>
          <ac:picMkLst>
            <pc:docMk/>
            <pc:sldMk cId="3131901387" sldId="256"/>
            <ac:picMk id="14" creationId="{2383877E-1EA1-4685-809A-0E7CCC5CBDD3}"/>
          </ac:picMkLst>
        </pc:picChg>
      </pc:sldChg>
      <pc:sldChg chg="addSp delSp modSp mod">
        <pc:chgData name="Aurelien Domont" userId="6da7715ce44349b3" providerId="LiveId" clId="{E6277905-FCCE-4B88-BAD6-C5854D60B696}" dt="2021-05-19T07:14:32.307" v="1757" actId="20577"/>
        <pc:sldMkLst>
          <pc:docMk/>
          <pc:sldMk cId="317099162" sldId="1749"/>
        </pc:sldMkLst>
        <pc:spChg chg="add del mod">
          <ac:chgData name="Aurelien Domont" userId="6da7715ce44349b3" providerId="LiveId" clId="{E6277905-FCCE-4B88-BAD6-C5854D60B696}" dt="2021-05-19T07:02:22.898" v="1169" actId="478"/>
          <ac:spMkLst>
            <pc:docMk/>
            <pc:sldMk cId="317099162" sldId="1749"/>
            <ac:spMk id="2" creationId="{254960E3-64BC-4278-8123-6086DEE61BF9}"/>
          </ac:spMkLst>
        </pc:spChg>
        <pc:spChg chg="mod">
          <ac:chgData name="Aurelien Domont" userId="6da7715ce44349b3" providerId="LiveId" clId="{E6277905-FCCE-4B88-BAD6-C5854D60B696}" dt="2021-05-19T07:14:32.307" v="1757" actId="20577"/>
          <ac:spMkLst>
            <pc:docMk/>
            <pc:sldMk cId="317099162" sldId="1749"/>
            <ac:spMk id="14" creationId="{58BC295C-D6CC-4682-B176-A5677EB177D0}"/>
          </ac:spMkLst>
        </pc:spChg>
        <pc:spChg chg="mod">
          <ac:chgData name="Aurelien Domont" userId="6da7715ce44349b3" providerId="LiveId" clId="{E6277905-FCCE-4B88-BAD6-C5854D60B696}" dt="2021-05-19T07:02:48.675" v="1177" actId="20577"/>
          <ac:spMkLst>
            <pc:docMk/>
            <pc:sldMk cId="317099162" sldId="1749"/>
            <ac:spMk id="16" creationId="{6C2BB713-9637-4B9B-938F-E9768876782A}"/>
          </ac:spMkLst>
        </pc:spChg>
      </pc:sldChg>
      <pc:sldChg chg="del">
        <pc:chgData name="Aurelien Domont" userId="6da7715ce44349b3" providerId="LiveId" clId="{E6277905-FCCE-4B88-BAD6-C5854D60B696}" dt="2021-05-19T07:15:14.400" v="1758" actId="47"/>
        <pc:sldMkLst>
          <pc:docMk/>
          <pc:sldMk cId="3324303879" sldId="1917"/>
        </pc:sldMkLst>
      </pc:sldChg>
      <pc:sldChg chg="del">
        <pc:chgData name="Aurelien Domont" userId="6da7715ce44349b3" providerId="LiveId" clId="{E6277905-FCCE-4B88-BAD6-C5854D60B696}" dt="2021-05-19T07:02:37.038" v="1170" actId="47"/>
        <pc:sldMkLst>
          <pc:docMk/>
          <pc:sldMk cId="3738554192" sldId="1918"/>
        </pc:sldMkLst>
      </pc:sldChg>
      <pc:sldChg chg="del">
        <pc:chgData name="Aurelien Domont" userId="6da7715ce44349b3" providerId="LiveId" clId="{E6277905-FCCE-4B88-BAD6-C5854D60B696}" dt="2021-05-19T07:02:37.038" v="1170" actId="47"/>
        <pc:sldMkLst>
          <pc:docMk/>
          <pc:sldMk cId="4287792945" sldId="1919"/>
        </pc:sldMkLst>
      </pc:sldChg>
      <pc:sldChg chg="del">
        <pc:chgData name="Aurelien Domont" userId="6da7715ce44349b3" providerId="LiveId" clId="{E6277905-FCCE-4B88-BAD6-C5854D60B696}" dt="2021-05-19T07:02:37.038" v="1170" actId="47"/>
        <pc:sldMkLst>
          <pc:docMk/>
          <pc:sldMk cId="1711813648" sldId="1920"/>
        </pc:sldMkLst>
      </pc:sldChg>
      <pc:sldChg chg="del">
        <pc:chgData name="Aurelien Domont" userId="6da7715ce44349b3" providerId="LiveId" clId="{E6277905-FCCE-4B88-BAD6-C5854D60B696}" dt="2021-05-19T07:02:37.038" v="1170" actId="47"/>
        <pc:sldMkLst>
          <pc:docMk/>
          <pc:sldMk cId="1649006803" sldId="1921"/>
        </pc:sldMkLst>
      </pc:sldChg>
      <pc:sldChg chg="del">
        <pc:chgData name="Aurelien Domont" userId="6da7715ce44349b3" providerId="LiveId" clId="{E6277905-FCCE-4B88-BAD6-C5854D60B696}" dt="2021-05-19T07:02:37.038" v="1170" actId="47"/>
        <pc:sldMkLst>
          <pc:docMk/>
          <pc:sldMk cId="3022188194" sldId="1922"/>
        </pc:sldMkLst>
      </pc:sldChg>
      <pc:sldChg chg="del">
        <pc:chgData name="Aurelien Domont" userId="6da7715ce44349b3" providerId="LiveId" clId="{E6277905-FCCE-4B88-BAD6-C5854D60B696}" dt="2021-05-19T07:02:37.038" v="1170" actId="47"/>
        <pc:sldMkLst>
          <pc:docMk/>
          <pc:sldMk cId="1872329668" sldId="1923"/>
        </pc:sldMkLst>
      </pc:sldChg>
      <pc:sldChg chg="addSp delSp modSp mod">
        <pc:chgData name="Aurelien Domont" userId="6da7715ce44349b3" providerId="LiveId" clId="{E6277905-FCCE-4B88-BAD6-C5854D60B696}" dt="2021-05-19T07:21:25.037" v="1775" actId="313"/>
        <pc:sldMkLst>
          <pc:docMk/>
          <pc:sldMk cId="1659127470" sldId="1924"/>
        </pc:sldMkLst>
        <pc:spChg chg="add del mod">
          <ac:chgData name="Aurelien Domont" userId="6da7715ce44349b3" providerId="LiveId" clId="{E6277905-FCCE-4B88-BAD6-C5854D60B696}" dt="2021-05-19T06:39:27.924" v="1101" actId="478"/>
          <ac:spMkLst>
            <pc:docMk/>
            <pc:sldMk cId="1659127470" sldId="1924"/>
            <ac:spMk id="2" creationId="{8D91CEA2-A9A2-44FD-975C-6F4A2D59641D}"/>
          </ac:spMkLst>
        </pc:spChg>
        <pc:spChg chg="add del mod">
          <ac:chgData name="Aurelien Domont" userId="6da7715ce44349b3" providerId="LiveId" clId="{E6277905-FCCE-4B88-BAD6-C5854D60B696}" dt="2021-05-19T06:24:02.853" v="853" actId="478"/>
          <ac:spMkLst>
            <pc:docMk/>
            <pc:sldMk cId="1659127470" sldId="1924"/>
            <ac:spMk id="4" creationId="{1E764DDF-9638-4878-B977-C06C1B7046F5}"/>
          </ac:spMkLst>
        </pc:spChg>
        <pc:spChg chg="add del mod">
          <ac:chgData name="Aurelien Domont" userId="6da7715ce44349b3" providerId="LiveId" clId="{E6277905-FCCE-4B88-BAD6-C5854D60B696}" dt="2021-05-18T05:50:48.987" v="45" actId="478"/>
          <ac:spMkLst>
            <pc:docMk/>
            <pc:sldMk cId="1659127470" sldId="1924"/>
            <ac:spMk id="14" creationId="{1E88A16D-E54C-45FC-97FE-3A1C196DAF1A}"/>
          </ac:spMkLst>
        </pc:spChg>
        <pc:spChg chg="mod">
          <ac:chgData name="Aurelien Domont" userId="6da7715ce44349b3" providerId="LiveId" clId="{E6277905-FCCE-4B88-BAD6-C5854D60B696}" dt="2021-05-18T05:41:48.391" v="40" actId="20577"/>
          <ac:spMkLst>
            <pc:docMk/>
            <pc:sldMk cId="1659127470" sldId="1924"/>
            <ac:spMk id="16" creationId="{6C2BB713-9637-4B9B-938F-E9768876782A}"/>
          </ac:spMkLst>
        </pc:spChg>
        <pc:spChg chg="mod">
          <ac:chgData name="Aurelien Domont" userId="6da7715ce44349b3" providerId="LiveId" clId="{E6277905-FCCE-4B88-BAD6-C5854D60B696}" dt="2021-05-19T07:11:36.761" v="1694" actId="20577"/>
          <ac:spMkLst>
            <pc:docMk/>
            <pc:sldMk cId="1659127470" sldId="1924"/>
            <ac:spMk id="17" creationId="{469F466A-B940-41E3-B12F-110D72502BCE}"/>
          </ac:spMkLst>
        </pc:spChg>
        <pc:spChg chg="mod">
          <ac:chgData name="Aurelien Domont" userId="6da7715ce44349b3" providerId="LiveId" clId="{E6277905-FCCE-4B88-BAD6-C5854D60B696}" dt="2021-05-18T05:57:42.931" v="188" actId="20577"/>
          <ac:spMkLst>
            <pc:docMk/>
            <pc:sldMk cId="1659127470" sldId="1924"/>
            <ac:spMk id="20" creationId="{3A4E6A8C-908C-49FF-9BF8-90A9FC12224D}"/>
          </ac:spMkLst>
        </pc:spChg>
        <pc:spChg chg="mod">
          <ac:chgData name="Aurelien Domont" userId="6da7715ce44349b3" providerId="LiveId" clId="{E6277905-FCCE-4B88-BAD6-C5854D60B696}" dt="2021-05-19T07:11:44.329" v="1698" actId="20577"/>
          <ac:spMkLst>
            <pc:docMk/>
            <pc:sldMk cId="1659127470" sldId="1924"/>
            <ac:spMk id="21" creationId="{16FAC062-BB56-4A49-9044-4444E78429DF}"/>
          </ac:spMkLst>
        </pc:spChg>
        <pc:spChg chg="mod">
          <ac:chgData name="Aurelien Domont" userId="6da7715ce44349b3" providerId="LiveId" clId="{E6277905-FCCE-4B88-BAD6-C5854D60B696}" dt="2021-05-19T06:37:08.662" v="1088" actId="179"/>
          <ac:spMkLst>
            <pc:docMk/>
            <pc:sldMk cId="1659127470" sldId="1924"/>
            <ac:spMk id="24" creationId="{95714746-22CF-48C5-AD51-9D9AE6E5F2C8}"/>
          </ac:spMkLst>
        </pc:spChg>
        <pc:spChg chg="mod">
          <ac:chgData name="Aurelien Domont" userId="6da7715ce44349b3" providerId="LiveId" clId="{E6277905-FCCE-4B88-BAD6-C5854D60B696}" dt="2021-05-19T07:21:25.037" v="1775" actId="313"/>
          <ac:spMkLst>
            <pc:docMk/>
            <pc:sldMk cId="1659127470" sldId="1924"/>
            <ac:spMk id="25" creationId="{0B462317-12E0-4745-AFEC-1DF156C5EB17}"/>
          </ac:spMkLst>
        </pc:spChg>
        <pc:spChg chg="mod">
          <ac:chgData name="Aurelien Domont" userId="6da7715ce44349b3" providerId="LiveId" clId="{E6277905-FCCE-4B88-BAD6-C5854D60B696}" dt="2021-05-19T06:43:08.751" v="1120" actId="20577"/>
          <ac:spMkLst>
            <pc:docMk/>
            <pc:sldMk cId="1659127470" sldId="1924"/>
            <ac:spMk id="28" creationId="{46F541B2-19A4-48FE-BC36-F95AB3359448}"/>
          </ac:spMkLst>
        </pc:spChg>
        <pc:cxnChg chg="add del mod">
          <ac:chgData name="Aurelien Domont" userId="6da7715ce44349b3" providerId="LiveId" clId="{E6277905-FCCE-4B88-BAD6-C5854D60B696}" dt="2021-05-18T05:56:42.969" v="183" actId="478"/>
          <ac:cxnSpMkLst>
            <pc:docMk/>
            <pc:sldMk cId="1659127470" sldId="1924"/>
            <ac:cxnSpMk id="15" creationId="{2633E9D1-B28B-464D-8203-38A139B3D947}"/>
          </ac:cxnSpMkLst>
        </pc:cxnChg>
        <pc:cxnChg chg="add mod">
          <ac:chgData name="Aurelien Domont" userId="6da7715ce44349b3" providerId="LiveId" clId="{E6277905-FCCE-4B88-BAD6-C5854D60B696}" dt="2021-05-19T06:29:20.431" v="930" actId="1038"/>
          <ac:cxnSpMkLst>
            <pc:docMk/>
            <pc:sldMk cId="1659127470" sldId="1924"/>
            <ac:cxnSpMk id="15" creationId="{E60236D9-FA17-46A1-923E-EAFAC3847145}"/>
          </ac:cxnSpMkLst>
        </pc:cxnChg>
        <pc:cxnChg chg="mod">
          <ac:chgData name="Aurelien Domont" userId="6da7715ce44349b3" providerId="LiveId" clId="{E6277905-FCCE-4B88-BAD6-C5854D60B696}" dt="2021-05-19T06:29:17.208" v="927" actId="1037"/>
          <ac:cxnSpMkLst>
            <pc:docMk/>
            <pc:sldMk cId="1659127470" sldId="1924"/>
            <ac:cxnSpMk id="22" creationId="{8F214CF9-01D2-40DC-9D6F-DAC675E238D0}"/>
          </ac:cxnSpMkLst>
        </pc:cxnChg>
        <pc:cxnChg chg="del mod">
          <ac:chgData name="Aurelien Domont" userId="6da7715ce44349b3" providerId="LiveId" clId="{E6277905-FCCE-4B88-BAD6-C5854D60B696}" dt="2021-05-19T06:27:03.979" v="896" actId="478"/>
          <ac:cxnSpMkLst>
            <pc:docMk/>
            <pc:sldMk cId="1659127470" sldId="1924"/>
            <ac:cxnSpMk id="23" creationId="{919B0EFB-7619-4E1E-BC50-B4C9AA07AF7A}"/>
          </ac:cxnSpMkLst>
        </pc:cxnChg>
      </pc:sldChg>
      <pc:sldChg chg="addSp delSp modSp del mod">
        <pc:chgData name="Aurelien Domont" userId="6da7715ce44349b3" providerId="LiveId" clId="{E6277905-FCCE-4B88-BAD6-C5854D60B696}" dt="2021-05-19T07:18:52.520" v="1773" actId="47"/>
        <pc:sldMkLst>
          <pc:docMk/>
          <pc:sldMk cId="3274212698" sldId="1925"/>
        </pc:sldMkLst>
        <pc:spChg chg="mod">
          <ac:chgData name="Aurelien Domont" userId="6da7715ce44349b3" providerId="LiveId" clId="{E6277905-FCCE-4B88-BAD6-C5854D60B696}" dt="2021-05-19T06:43:54.964" v="1137" actId="20577"/>
          <ac:spMkLst>
            <pc:docMk/>
            <pc:sldMk cId="3274212698" sldId="1925"/>
            <ac:spMk id="2" creationId="{406113FD-AA7D-4249-90D7-70AF85BE48E1}"/>
          </ac:spMkLst>
        </pc:spChg>
        <pc:spChg chg="del">
          <ac:chgData name="Aurelien Domont" userId="6da7715ce44349b3" providerId="LiveId" clId="{E6277905-FCCE-4B88-BAD6-C5854D60B696}" dt="2021-05-19T06:44:02.951" v="1138" actId="478"/>
          <ac:spMkLst>
            <pc:docMk/>
            <pc:sldMk cId="3274212698" sldId="1925"/>
            <ac:spMk id="44" creationId="{411193A8-7FDF-4516-9582-7F8223998366}"/>
          </ac:spMkLst>
        </pc:spChg>
        <pc:spChg chg="del">
          <ac:chgData name="Aurelien Domont" userId="6da7715ce44349b3" providerId="LiveId" clId="{E6277905-FCCE-4B88-BAD6-C5854D60B696}" dt="2021-05-19T06:44:02.951" v="1138" actId="478"/>
          <ac:spMkLst>
            <pc:docMk/>
            <pc:sldMk cId="3274212698" sldId="1925"/>
            <ac:spMk id="45" creationId="{F77BF668-13F9-4E2F-B2A0-A370A4533CBC}"/>
          </ac:spMkLst>
        </pc:spChg>
        <pc:spChg chg="del">
          <ac:chgData name="Aurelien Domont" userId="6da7715ce44349b3" providerId="LiveId" clId="{E6277905-FCCE-4B88-BAD6-C5854D60B696}" dt="2021-05-19T06:44:02.951" v="1138" actId="478"/>
          <ac:spMkLst>
            <pc:docMk/>
            <pc:sldMk cId="3274212698" sldId="1925"/>
            <ac:spMk id="46" creationId="{8E933AF5-28A9-4624-8233-36924701A2D3}"/>
          </ac:spMkLst>
        </pc:spChg>
        <pc:spChg chg="del">
          <ac:chgData name="Aurelien Domont" userId="6da7715ce44349b3" providerId="LiveId" clId="{E6277905-FCCE-4B88-BAD6-C5854D60B696}" dt="2021-05-19T06:44:02.951" v="1138" actId="478"/>
          <ac:spMkLst>
            <pc:docMk/>
            <pc:sldMk cId="3274212698" sldId="1925"/>
            <ac:spMk id="47" creationId="{514BD66A-7DFE-4DC0-BD92-3FE6154D10AE}"/>
          </ac:spMkLst>
        </pc:spChg>
        <pc:spChg chg="del">
          <ac:chgData name="Aurelien Domont" userId="6da7715ce44349b3" providerId="LiveId" clId="{E6277905-FCCE-4B88-BAD6-C5854D60B696}" dt="2021-05-19T06:44:02.951" v="1138" actId="478"/>
          <ac:spMkLst>
            <pc:docMk/>
            <pc:sldMk cId="3274212698" sldId="1925"/>
            <ac:spMk id="48" creationId="{A74BC356-AD5C-4CE9-BA6C-95605462BF66}"/>
          </ac:spMkLst>
        </pc:spChg>
        <pc:spChg chg="del">
          <ac:chgData name="Aurelien Domont" userId="6da7715ce44349b3" providerId="LiveId" clId="{E6277905-FCCE-4B88-BAD6-C5854D60B696}" dt="2021-05-19T06:44:02.951" v="1138" actId="478"/>
          <ac:spMkLst>
            <pc:docMk/>
            <pc:sldMk cId="3274212698" sldId="1925"/>
            <ac:spMk id="49" creationId="{B43642D1-F386-4B4A-9CC3-A7E2404701A0}"/>
          </ac:spMkLst>
        </pc:spChg>
        <pc:spChg chg="del">
          <ac:chgData name="Aurelien Domont" userId="6da7715ce44349b3" providerId="LiveId" clId="{E6277905-FCCE-4B88-BAD6-C5854D60B696}" dt="2021-05-19T06:44:02.951" v="1138" actId="478"/>
          <ac:spMkLst>
            <pc:docMk/>
            <pc:sldMk cId="3274212698" sldId="1925"/>
            <ac:spMk id="50" creationId="{90107E7F-DBC3-49BD-8C62-6977301018C8}"/>
          </ac:spMkLst>
        </pc:spChg>
        <pc:spChg chg="del">
          <ac:chgData name="Aurelien Domont" userId="6da7715ce44349b3" providerId="LiveId" clId="{E6277905-FCCE-4B88-BAD6-C5854D60B696}" dt="2021-05-19T06:44:02.951" v="1138" actId="478"/>
          <ac:spMkLst>
            <pc:docMk/>
            <pc:sldMk cId="3274212698" sldId="1925"/>
            <ac:spMk id="59" creationId="{17CFC19B-CFD4-4FBA-8E77-47ED02F3E8D3}"/>
          </ac:spMkLst>
        </pc:spChg>
        <pc:spChg chg="del">
          <ac:chgData name="Aurelien Domont" userId="6da7715ce44349b3" providerId="LiveId" clId="{E6277905-FCCE-4B88-BAD6-C5854D60B696}" dt="2021-05-19T06:44:02.951" v="1138" actId="478"/>
          <ac:spMkLst>
            <pc:docMk/>
            <pc:sldMk cId="3274212698" sldId="1925"/>
            <ac:spMk id="60" creationId="{695C4FA9-2B8E-4FB8-93E0-7A02320B5483}"/>
          </ac:spMkLst>
        </pc:spChg>
        <pc:spChg chg="del">
          <ac:chgData name="Aurelien Domont" userId="6da7715ce44349b3" providerId="LiveId" clId="{E6277905-FCCE-4B88-BAD6-C5854D60B696}" dt="2021-05-19T06:44:02.951" v="1138" actId="478"/>
          <ac:spMkLst>
            <pc:docMk/>
            <pc:sldMk cId="3274212698" sldId="1925"/>
            <ac:spMk id="61" creationId="{F4E5E171-5D7F-4FAF-93CF-CB62F4A1F2E9}"/>
          </ac:spMkLst>
        </pc:spChg>
        <pc:spChg chg="del">
          <ac:chgData name="Aurelien Domont" userId="6da7715ce44349b3" providerId="LiveId" clId="{E6277905-FCCE-4B88-BAD6-C5854D60B696}" dt="2021-05-19T06:44:02.951" v="1138" actId="478"/>
          <ac:spMkLst>
            <pc:docMk/>
            <pc:sldMk cId="3274212698" sldId="1925"/>
            <ac:spMk id="62" creationId="{CD05CB2E-DBDA-4A1B-94E2-D867171F59FE}"/>
          </ac:spMkLst>
        </pc:spChg>
        <pc:spChg chg="del">
          <ac:chgData name="Aurelien Domont" userId="6da7715ce44349b3" providerId="LiveId" clId="{E6277905-FCCE-4B88-BAD6-C5854D60B696}" dt="2021-05-19T06:44:02.951" v="1138" actId="478"/>
          <ac:spMkLst>
            <pc:docMk/>
            <pc:sldMk cId="3274212698" sldId="1925"/>
            <ac:spMk id="63" creationId="{470F2536-F17A-4FD5-86E3-1E1195927B69}"/>
          </ac:spMkLst>
        </pc:spChg>
        <pc:spChg chg="del">
          <ac:chgData name="Aurelien Domont" userId="6da7715ce44349b3" providerId="LiveId" clId="{E6277905-FCCE-4B88-BAD6-C5854D60B696}" dt="2021-05-19T06:44:02.951" v="1138" actId="478"/>
          <ac:spMkLst>
            <pc:docMk/>
            <pc:sldMk cId="3274212698" sldId="1925"/>
            <ac:spMk id="64" creationId="{3E229F8E-1ADC-441D-9585-3A2C8AD31EE1}"/>
          </ac:spMkLst>
        </pc:spChg>
        <pc:spChg chg="del">
          <ac:chgData name="Aurelien Domont" userId="6da7715ce44349b3" providerId="LiveId" clId="{E6277905-FCCE-4B88-BAD6-C5854D60B696}" dt="2021-05-19T06:44:02.951" v="1138" actId="478"/>
          <ac:spMkLst>
            <pc:docMk/>
            <pc:sldMk cId="3274212698" sldId="1925"/>
            <ac:spMk id="65" creationId="{582A4E88-3E6E-4B57-9921-2E01D1CB84B1}"/>
          </ac:spMkLst>
        </pc:spChg>
        <pc:spChg chg="del">
          <ac:chgData name="Aurelien Domont" userId="6da7715ce44349b3" providerId="LiveId" clId="{E6277905-FCCE-4B88-BAD6-C5854D60B696}" dt="2021-05-19T06:44:02.951" v="1138" actId="478"/>
          <ac:spMkLst>
            <pc:docMk/>
            <pc:sldMk cId="3274212698" sldId="1925"/>
            <ac:spMk id="67" creationId="{04C18065-77FD-459E-88D7-A7F468352973}"/>
          </ac:spMkLst>
        </pc:spChg>
        <pc:spChg chg="del">
          <ac:chgData name="Aurelien Domont" userId="6da7715ce44349b3" providerId="LiveId" clId="{E6277905-FCCE-4B88-BAD6-C5854D60B696}" dt="2021-05-19T06:44:02.951" v="1138" actId="478"/>
          <ac:spMkLst>
            <pc:docMk/>
            <pc:sldMk cId="3274212698" sldId="1925"/>
            <ac:spMk id="68" creationId="{5579B3EC-9EEB-4609-8D9D-F20B76F96151}"/>
          </ac:spMkLst>
        </pc:spChg>
        <pc:spChg chg="del">
          <ac:chgData name="Aurelien Domont" userId="6da7715ce44349b3" providerId="LiveId" clId="{E6277905-FCCE-4B88-BAD6-C5854D60B696}" dt="2021-05-19T06:44:02.951" v="1138" actId="478"/>
          <ac:spMkLst>
            <pc:docMk/>
            <pc:sldMk cId="3274212698" sldId="1925"/>
            <ac:spMk id="70" creationId="{CB1C877D-16A2-4DB0-BED8-3B0FFFB64706}"/>
          </ac:spMkLst>
        </pc:spChg>
        <pc:spChg chg="del">
          <ac:chgData name="Aurelien Domont" userId="6da7715ce44349b3" providerId="LiveId" clId="{E6277905-FCCE-4B88-BAD6-C5854D60B696}" dt="2021-05-19T06:44:02.951" v="1138" actId="478"/>
          <ac:spMkLst>
            <pc:docMk/>
            <pc:sldMk cId="3274212698" sldId="1925"/>
            <ac:spMk id="71" creationId="{08230361-6FC5-4337-BAC4-7E325C461DA8}"/>
          </ac:spMkLst>
        </pc:spChg>
        <pc:spChg chg="del">
          <ac:chgData name="Aurelien Domont" userId="6da7715ce44349b3" providerId="LiveId" clId="{E6277905-FCCE-4B88-BAD6-C5854D60B696}" dt="2021-05-19T06:44:02.951" v="1138" actId="478"/>
          <ac:spMkLst>
            <pc:docMk/>
            <pc:sldMk cId="3274212698" sldId="1925"/>
            <ac:spMk id="74" creationId="{EBD37F0A-29E0-4969-B5EC-4141D2BB6320}"/>
          </ac:spMkLst>
        </pc:spChg>
        <pc:spChg chg="del">
          <ac:chgData name="Aurelien Domont" userId="6da7715ce44349b3" providerId="LiveId" clId="{E6277905-FCCE-4B88-BAD6-C5854D60B696}" dt="2021-05-19T06:44:02.951" v="1138" actId="478"/>
          <ac:spMkLst>
            <pc:docMk/>
            <pc:sldMk cId="3274212698" sldId="1925"/>
            <ac:spMk id="75" creationId="{C4AA2ACA-39B4-442C-B099-063BDA1B897F}"/>
          </ac:spMkLst>
        </pc:spChg>
        <pc:spChg chg="del">
          <ac:chgData name="Aurelien Domont" userId="6da7715ce44349b3" providerId="LiveId" clId="{E6277905-FCCE-4B88-BAD6-C5854D60B696}" dt="2021-05-19T06:44:02.951" v="1138" actId="478"/>
          <ac:spMkLst>
            <pc:docMk/>
            <pc:sldMk cId="3274212698" sldId="1925"/>
            <ac:spMk id="76" creationId="{C7E64FD9-D958-4425-99D6-C3E50B606C24}"/>
          </ac:spMkLst>
        </pc:spChg>
        <pc:spChg chg="del">
          <ac:chgData name="Aurelien Domont" userId="6da7715ce44349b3" providerId="LiveId" clId="{E6277905-FCCE-4B88-BAD6-C5854D60B696}" dt="2021-05-19T06:44:02.951" v="1138" actId="478"/>
          <ac:spMkLst>
            <pc:docMk/>
            <pc:sldMk cId="3274212698" sldId="1925"/>
            <ac:spMk id="78" creationId="{AFA816E6-1329-4FC9-8CAA-8F49CFA1DFBC}"/>
          </ac:spMkLst>
        </pc:spChg>
        <pc:spChg chg="del">
          <ac:chgData name="Aurelien Domont" userId="6da7715ce44349b3" providerId="LiveId" clId="{E6277905-FCCE-4B88-BAD6-C5854D60B696}" dt="2021-05-19T06:44:02.951" v="1138" actId="478"/>
          <ac:spMkLst>
            <pc:docMk/>
            <pc:sldMk cId="3274212698" sldId="1925"/>
            <ac:spMk id="79" creationId="{ACC84311-B402-461E-AAFC-27D36981BAB2}"/>
          </ac:spMkLst>
        </pc:spChg>
        <pc:spChg chg="add mod">
          <ac:chgData name="Aurelien Domont" userId="6da7715ce44349b3" providerId="LiveId" clId="{E6277905-FCCE-4B88-BAD6-C5854D60B696}" dt="2021-05-19T06:45:08.943" v="1139"/>
          <ac:spMkLst>
            <pc:docMk/>
            <pc:sldMk cId="3274212698" sldId="1925"/>
            <ac:spMk id="82" creationId="{6811F91F-B232-427E-8EA1-0BB3DD3C51C0}"/>
          </ac:spMkLst>
        </pc:spChg>
        <pc:spChg chg="add mod">
          <ac:chgData name="Aurelien Domont" userId="6da7715ce44349b3" providerId="LiveId" clId="{E6277905-FCCE-4B88-BAD6-C5854D60B696}" dt="2021-05-19T06:45:08.943" v="1139"/>
          <ac:spMkLst>
            <pc:docMk/>
            <pc:sldMk cId="3274212698" sldId="1925"/>
            <ac:spMk id="83" creationId="{AAC49384-107F-45CD-909C-F6FDB30DF078}"/>
          </ac:spMkLst>
        </pc:spChg>
        <pc:spChg chg="add mod">
          <ac:chgData name="Aurelien Domont" userId="6da7715ce44349b3" providerId="LiveId" clId="{E6277905-FCCE-4B88-BAD6-C5854D60B696}" dt="2021-05-19T06:45:08.943" v="1139"/>
          <ac:spMkLst>
            <pc:docMk/>
            <pc:sldMk cId="3274212698" sldId="1925"/>
            <ac:spMk id="84" creationId="{888D5CDC-366F-4498-8F92-1BA9C0FD9FB3}"/>
          </ac:spMkLst>
        </pc:spChg>
        <pc:spChg chg="add mod">
          <ac:chgData name="Aurelien Domont" userId="6da7715ce44349b3" providerId="LiveId" clId="{E6277905-FCCE-4B88-BAD6-C5854D60B696}" dt="2021-05-19T06:45:08.943" v="1139"/>
          <ac:spMkLst>
            <pc:docMk/>
            <pc:sldMk cId="3274212698" sldId="1925"/>
            <ac:spMk id="85" creationId="{0E16496C-7686-4070-9D81-F36A72936A6A}"/>
          </ac:spMkLst>
        </pc:spChg>
        <pc:spChg chg="add mod">
          <ac:chgData name="Aurelien Domont" userId="6da7715ce44349b3" providerId="LiveId" clId="{E6277905-FCCE-4B88-BAD6-C5854D60B696}" dt="2021-05-19T06:45:08.943" v="1139"/>
          <ac:spMkLst>
            <pc:docMk/>
            <pc:sldMk cId="3274212698" sldId="1925"/>
            <ac:spMk id="86" creationId="{127F6FD2-4304-4DFA-A08B-BB3C214889AF}"/>
          </ac:spMkLst>
        </pc:spChg>
        <pc:spChg chg="add mod">
          <ac:chgData name="Aurelien Domont" userId="6da7715ce44349b3" providerId="LiveId" clId="{E6277905-FCCE-4B88-BAD6-C5854D60B696}" dt="2021-05-19T06:45:08.943" v="1139"/>
          <ac:spMkLst>
            <pc:docMk/>
            <pc:sldMk cId="3274212698" sldId="1925"/>
            <ac:spMk id="87" creationId="{A71BA3C2-E523-4189-B411-ED11F9ECB38B}"/>
          </ac:spMkLst>
        </pc:spChg>
        <pc:spChg chg="add mod">
          <ac:chgData name="Aurelien Domont" userId="6da7715ce44349b3" providerId="LiveId" clId="{E6277905-FCCE-4B88-BAD6-C5854D60B696}" dt="2021-05-19T06:45:08.943" v="1139"/>
          <ac:spMkLst>
            <pc:docMk/>
            <pc:sldMk cId="3274212698" sldId="1925"/>
            <ac:spMk id="88" creationId="{766A1229-361F-44BF-89FD-2D51ADB3BA94}"/>
          </ac:spMkLst>
        </pc:spChg>
        <pc:spChg chg="mod">
          <ac:chgData name="Aurelien Domont" userId="6da7715ce44349b3" providerId="LiveId" clId="{E6277905-FCCE-4B88-BAD6-C5854D60B696}" dt="2021-05-19T06:45:08.943" v="1139"/>
          <ac:spMkLst>
            <pc:docMk/>
            <pc:sldMk cId="3274212698" sldId="1925"/>
            <ac:spMk id="90" creationId="{52FECA04-FE94-4CD4-A547-117453F9F109}"/>
          </ac:spMkLst>
        </pc:spChg>
        <pc:spChg chg="mod">
          <ac:chgData name="Aurelien Domont" userId="6da7715ce44349b3" providerId="LiveId" clId="{E6277905-FCCE-4B88-BAD6-C5854D60B696}" dt="2021-05-19T06:45:08.943" v="1139"/>
          <ac:spMkLst>
            <pc:docMk/>
            <pc:sldMk cId="3274212698" sldId="1925"/>
            <ac:spMk id="91" creationId="{A372959C-3AFF-472F-8D6F-FCBBC776AA53}"/>
          </ac:spMkLst>
        </pc:spChg>
        <pc:spChg chg="mod">
          <ac:chgData name="Aurelien Domont" userId="6da7715ce44349b3" providerId="LiveId" clId="{E6277905-FCCE-4B88-BAD6-C5854D60B696}" dt="2021-05-19T06:45:08.943" v="1139"/>
          <ac:spMkLst>
            <pc:docMk/>
            <pc:sldMk cId="3274212698" sldId="1925"/>
            <ac:spMk id="92" creationId="{1F420D8E-C094-4A16-97C1-B7ADE0D46800}"/>
          </ac:spMkLst>
        </pc:spChg>
        <pc:spChg chg="add mod">
          <ac:chgData name="Aurelien Domont" userId="6da7715ce44349b3" providerId="LiveId" clId="{E6277905-FCCE-4B88-BAD6-C5854D60B696}" dt="2021-05-19T06:45:08.943" v="1139"/>
          <ac:spMkLst>
            <pc:docMk/>
            <pc:sldMk cId="3274212698" sldId="1925"/>
            <ac:spMk id="97" creationId="{E770489E-EA82-4CFA-B698-A7C53ADB8BC7}"/>
          </ac:spMkLst>
        </pc:spChg>
        <pc:spChg chg="add mod">
          <ac:chgData name="Aurelien Domont" userId="6da7715ce44349b3" providerId="LiveId" clId="{E6277905-FCCE-4B88-BAD6-C5854D60B696}" dt="2021-05-19T06:45:08.943" v="1139"/>
          <ac:spMkLst>
            <pc:docMk/>
            <pc:sldMk cId="3274212698" sldId="1925"/>
            <ac:spMk id="98" creationId="{12447D7D-E5EE-4686-A7DF-7DCA86978787}"/>
          </ac:spMkLst>
        </pc:spChg>
        <pc:spChg chg="add mod">
          <ac:chgData name="Aurelien Domont" userId="6da7715ce44349b3" providerId="LiveId" clId="{E6277905-FCCE-4B88-BAD6-C5854D60B696}" dt="2021-05-19T06:45:08.943" v="1139"/>
          <ac:spMkLst>
            <pc:docMk/>
            <pc:sldMk cId="3274212698" sldId="1925"/>
            <ac:spMk id="99" creationId="{B7374880-E0FF-410F-9F48-D2CDE07B8105}"/>
          </ac:spMkLst>
        </pc:spChg>
        <pc:spChg chg="add mod">
          <ac:chgData name="Aurelien Domont" userId="6da7715ce44349b3" providerId="LiveId" clId="{E6277905-FCCE-4B88-BAD6-C5854D60B696}" dt="2021-05-19T06:45:08.943" v="1139"/>
          <ac:spMkLst>
            <pc:docMk/>
            <pc:sldMk cId="3274212698" sldId="1925"/>
            <ac:spMk id="100" creationId="{76415466-16C6-4662-8EB0-14B506132EBB}"/>
          </ac:spMkLst>
        </pc:spChg>
        <pc:spChg chg="add mod">
          <ac:chgData name="Aurelien Domont" userId="6da7715ce44349b3" providerId="LiveId" clId="{E6277905-FCCE-4B88-BAD6-C5854D60B696}" dt="2021-05-19T06:45:08.943" v="1139"/>
          <ac:spMkLst>
            <pc:docMk/>
            <pc:sldMk cId="3274212698" sldId="1925"/>
            <ac:spMk id="101" creationId="{72A1A962-A60A-4408-8E61-EA23F7F3E1A1}"/>
          </ac:spMkLst>
        </pc:spChg>
        <pc:spChg chg="add mod">
          <ac:chgData name="Aurelien Domont" userId="6da7715ce44349b3" providerId="LiveId" clId="{E6277905-FCCE-4B88-BAD6-C5854D60B696}" dt="2021-05-19T06:45:08.943" v="1139"/>
          <ac:spMkLst>
            <pc:docMk/>
            <pc:sldMk cId="3274212698" sldId="1925"/>
            <ac:spMk id="102" creationId="{EB30F586-B7B6-4A72-B28B-16A4112D8796}"/>
          </ac:spMkLst>
        </pc:spChg>
        <pc:spChg chg="add mod">
          <ac:chgData name="Aurelien Domont" userId="6da7715ce44349b3" providerId="LiveId" clId="{E6277905-FCCE-4B88-BAD6-C5854D60B696}" dt="2021-05-19T06:45:08.943" v="1139"/>
          <ac:spMkLst>
            <pc:docMk/>
            <pc:sldMk cId="3274212698" sldId="1925"/>
            <ac:spMk id="103" creationId="{AA8283F7-A9A6-4E77-987A-4ADEB5C26C81}"/>
          </ac:spMkLst>
        </pc:spChg>
        <pc:spChg chg="add mod">
          <ac:chgData name="Aurelien Domont" userId="6da7715ce44349b3" providerId="LiveId" clId="{E6277905-FCCE-4B88-BAD6-C5854D60B696}" dt="2021-05-19T06:45:08.943" v="1139"/>
          <ac:spMkLst>
            <pc:docMk/>
            <pc:sldMk cId="3274212698" sldId="1925"/>
            <ac:spMk id="105" creationId="{A358FC29-7E29-44E1-A1BF-BA88F2E760B8}"/>
          </ac:spMkLst>
        </pc:spChg>
        <pc:spChg chg="add mod">
          <ac:chgData name="Aurelien Domont" userId="6da7715ce44349b3" providerId="LiveId" clId="{E6277905-FCCE-4B88-BAD6-C5854D60B696}" dt="2021-05-19T06:45:08.943" v="1139"/>
          <ac:spMkLst>
            <pc:docMk/>
            <pc:sldMk cId="3274212698" sldId="1925"/>
            <ac:spMk id="106" creationId="{FC7CAB25-A186-4536-9A49-30F317025553}"/>
          </ac:spMkLst>
        </pc:spChg>
        <pc:spChg chg="add mod">
          <ac:chgData name="Aurelien Domont" userId="6da7715ce44349b3" providerId="LiveId" clId="{E6277905-FCCE-4B88-BAD6-C5854D60B696}" dt="2021-05-19T06:45:08.943" v="1139"/>
          <ac:spMkLst>
            <pc:docMk/>
            <pc:sldMk cId="3274212698" sldId="1925"/>
            <ac:spMk id="108" creationId="{25E2FD35-ABF8-4B86-9228-17BAFB2B4F3B}"/>
          </ac:spMkLst>
        </pc:spChg>
        <pc:spChg chg="add mod">
          <ac:chgData name="Aurelien Domont" userId="6da7715ce44349b3" providerId="LiveId" clId="{E6277905-FCCE-4B88-BAD6-C5854D60B696}" dt="2021-05-19T06:45:08.943" v="1139"/>
          <ac:spMkLst>
            <pc:docMk/>
            <pc:sldMk cId="3274212698" sldId="1925"/>
            <ac:spMk id="109" creationId="{F2DC97CE-688B-4C4C-A8E8-A8E31BF663E9}"/>
          </ac:spMkLst>
        </pc:spChg>
        <pc:spChg chg="add mod">
          <ac:chgData name="Aurelien Domont" userId="6da7715ce44349b3" providerId="LiveId" clId="{E6277905-FCCE-4B88-BAD6-C5854D60B696}" dt="2021-05-19T06:45:08.943" v="1139"/>
          <ac:spMkLst>
            <pc:docMk/>
            <pc:sldMk cId="3274212698" sldId="1925"/>
            <ac:spMk id="111" creationId="{20264536-8DBF-4607-8B09-E74BA49D9878}"/>
          </ac:spMkLst>
        </pc:spChg>
        <pc:spChg chg="add mod">
          <ac:chgData name="Aurelien Domont" userId="6da7715ce44349b3" providerId="LiveId" clId="{E6277905-FCCE-4B88-BAD6-C5854D60B696}" dt="2021-05-19T06:45:08.943" v="1139"/>
          <ac:spMkLst>
            <pc:docMk/>
            <pc:sldMk cId="3274212698" sldId="1925"/>
            <ac:spMk id="112" creationId="{868F2369-1DB3-4017-A4A9-76D43C563CD4}"/>
          </ac:spMkLst>
        </pc:spChg>
        <pc:spChg chg="add mod">
          <ac:chgData name="Aurelien Domont" userId="6da7715ce44349b3" providerId="LiveId" clId="{E6277905-FCCE-4B88-BAD6-C5854D60B696}" dt="2021-05-19T06:45:08.943" v="1139"/>
          <ac:spMkLst>
            <pc:docMk/>
            <pc:sldMk cId="3274212698" sldId="1925"/>
            <ac:spMk id="114" creationId="{CDC3F07F-2D23-470D-B603-3FD8AB1ADAE6}"/>
          </ac:spMkLst>
        </pc:spChg>
        <pc:spChg chg="add mod">
          <ac:chgData name="Aurelien Domont" userId="6da7715ce44349b3" providerId="LiveId" clId="{E6277905-FCCE-4B88-BAD6-C5854D60B696}" dt="2021-05-19T06:45:08.943" v="1139"/>
          <ac:spMkLst>
            <pc:docMk/>
            <pc:sldMk cId="3274212698" sldId="1925"/>
            <ac:spMk id="115" creationId="{D0ADBC97-04C2-44A6-9094-FEE29F8B7AA5}"/>
          </ac:spMkLst>
        </pc:spChg>
        <pc:spChg chg="add mod">
          <ac:chgData name="Aurelien Domont" userId="6da7715ce44349b3" providerId="LiveId" clId="{E6277905-FCCE-4B88-BAD6-C5854D60B696}" dt="2021-05-19T06:45:08.943" v="1139"/>
          <ac:spMkLst>
            <pc:docMk/>
            <pc:sldMk cId="3274212698" sldId="1925"/>
            <ac:spMk id="116" creationId="{9A37BDF5-FBB8-46A2-ADFF-7BB4832D9805}"/>
          </ac:spMkLst>
        </pc:spChg>
        <pc:spChg chg="add mod">
          <ac:chgData name="Aurelien Domont" userId="6da7715ce44349b3" providerId="LiveId" clId="{E6277905-FCCE-4B88-BAD6-C5854D60B696}" dt="2021-05-19T06:45:08.943" v="1139"/>
          <ac:spMkLst>
            <pc:docMk/>
            <pc:sldMk cId="3274212698" sldId="1925"/>
            <ac:spMk id="117" creationId="{E2B7F8CB-E3EF-4740-BA5F-AC69AEE785D4}"/>
          </ac:spMkLst>
        </pc:spChg>
        <pc:grpChg chg="del">
          <ac:chgData name="Aurelien Domont" userId="6da7715ce44349b3" providerId="LiveId" clId="{E6277905-FCCE-4B88-BAD6-C5854D60B696}" dt="2021-05-19T06:44:02.951" v="1138" actId="478"/>
          <ac:grpSpMkLst>
            <pc:docMk/>
            <pc:sldMk cId="3274212698" sldId="1925"/>
            <ac:grpSpMk id="51" creationId="{02FE18B2-1EE1-423B-AA56-2E1957D32FB5}"/>
          </ac:grpSpMkLst>
        </pc:grpChg>
        <pc:grpChg chg="add mod">
          <ac:chgData name="Aurelien Domont" userId="6da7715ce44349b3" providerId="LiveId" clId="{E6277905-FCCE-4B88-BAD6-C5854D60B696}" dt="2021-05-19T06:45:08.943" v="1139"/>
          <ac:grpSpMkLst>
            <pc:docMk/>
            <pc:sldMk cId="3274212698" sldId="1925"/>
            <ac:grpSpMk id="89" creationId="{3955A9F5-B7CD-4F64-90B8-D5971EBAE0DD}"/>
          </ac:grpSpMkLst>
        </pc:grpChg>
        <pc:picChg chg="del">
          <ac:chgData name="Aurelien Domont" userId="6da7715ce44349b3" providerId="LiveId" clId="{E6277905-FCCE-4B88-BAD6-C5854D60B696}" dt="2021-05-19T06:44:02.951" v="1138" actId="478"/>
          <ac:picMkLst>
            <pc:docMk/>
            <pc:sldMk cId="3274212698" sldId="1925"/>
            <ac:picMk id="55" creationId="{A4FA445D-A84A-41ED-8E02-195CF8F8A81D}"/>
          </ac:picMkLst>
        </pc:picChg>
        <pc:picChg chg="del">
          <ac:chgData name="Aurelien Domont" userId="6da7715ce44349b3" providerId="LiveId" clId="{E6277905-FCCE-4B88-BAD6-C5854D60B696}" dt="2021-05-19T06:44:02.951" v="1138" actId="478"/>
          <ac:picMkLst>
            <pc:docMk/>
            <pc:sldMk cId="3274212698" sldId="1925"/>
            <ac:picMk id="56" creationId="{64ADD5FF-156B-4D9B-A8EF-89EB7E6D3FBF}"/>
          </ac:picMkLst>
        </pc:picChg>
        <pc:picChg chg="del">
          <ac:chgData name="Aurelien Domont" userId="6da7715ce44349b3" providerId="LiveId" clId="{E6277905-FCCE-4B88-BAD6-C5854D60B696}" dt="2021-05-19T06:44:02.951" v="1138" actId="478"/>
          <ac:picMkLst>
            <pc:docMk/>
            <pc:sldMk cId="3274212698" sldId="1925"/>
            <ac:picMk id="57" creationId="{FB803174-AE02-400E-9C93-D03E88712308}"/>
          </ac:picMkLst>
        </pc:picChg>
        <pc:picChg chg="del">
          <ac:chgData name="Aurelien Domont" userId="6da7715ce44349b3" providerId="LiveId" clId="{E6277905-FCCE-4B88-BAD6-C5854D60B696}" dt="2021-05-19T06:44:02.951" v="1138" actId="478"/>
          <ac:picMkLst>
            <pc:docMk/>
            <pc:sldMk cId="3274212698" sldId="1925"/>
            <ac:picMk id="58" creationId="{D4A6C9F0-BCEF-4AFF-9704-E4BF64DB0ADD}"/>
          </ac:picMkLst>
        </pc:picChg>
        <pc:picChg chg="del">
          <ac:chgData name="Aurelien Domont" userId="6da7715ce44349b3" providerId="LiveId" clId="{E6277905-FCCE-4B88-BAD6-C5854D60B696}" dt="2021-05-19T06:44:02.951" v="1138" actId="478"/>
          <ac:picMkLst>
            <pc:docMk/>
            <pc:sldMk cId="3274212698" sldId="1925"/>
            <ac:picMk id="66" creationId="{9A15547F-27C7-494F-9B37-6EB3ED04DB87}"/>
          </ac:picMkLst>
        </pc:picChg>
        <pc:picChg chg="del">
          <ac:chgData name="Aurelien Domont" userId="6da7715ce44349b3" providerId="LiveId" clId="{E6277905-FCCE-4B88-BAD6-C5854D60B696}" dt="2021-05-19T06:44:02.951" v="1138" actId="478"/>
          <ac:picMkLst>
            <pc:docMk/>
            <pc:sldMk cId="3274212698" sldId="1925"/>
            <ac:picMk id="69" creationId="{7D2EA8E4-AEED-45E4-851F-DDA0ED3FADFB}"/>
          </ac:picMkLst>
        </pc:picChg>
        <pc:picChg chg="del">
          <ac:chgData name="Aurelien Domont" userId="6da7715ce44349b3" providerId="LiveId" clId="{E6277905-FCCE-4B88-BAD6-C5854D60B696}" dt="2021-05-19T06:44:02.951" v="1138" actId="478"/>
          <ac:picMkLst>
            <pc:docMk/>
            <pc:sldMk cId="3274212698" sldId="1925"/>
            <ac:picMk id="72" creationId="{3E3C36E9-A83F-4982-AF48-F596BB1975B8}"/>
          </ac:picMkLst>
        </pc:picChg>
        <pc:picChg chg="del">
          <ac:chgData name="Aurelien Domont" userId="6da7715ce44349b3" providerId="LiveId" clId="{E6277905-FCCE-4B88-BAD6-C5854D60B696}" dt="2021-05-19T06:44:02.951" v="1138" actId="478"/>
          <ac:picMkLst>
            <pc:docMk/>
            <pc:sldMk cId="3274212698" sldId="1925"/>
            <ac:picMk id="73" creationId="{E75442E2-71E9-44FC-A238-51195747C8BC}"/>
          </ac:picMkLst>
        </pc:picChg>
        <pc:picChg chg="del">
          <ac:chgData name="Aurelien Domont" userId="6da7715ce44349b3" providerId="LiveId" clId="{E6277905-FCCE-4B88-BAD6-C5854D60B696}" dt="2021-05-19T06:44:02.951" v="1138" actId="478"/>
          <ac:picMkLst>
            <pc:docMk/>
            <pc:sldMk cId="3274212698" sldId="1925"/>
            <ac:picMk id="77" creationId="{8008FDF0-7F97-4342-A1DE-7763174709E6}"/>
          </ac:picMkLst>
        </pc:picChg>
        <pc:picChg chg="del">
          <ac:chgData name="Aurelien Domont" userId="6da7715ce44349b3" providerId="LiveId" clId="{E6277905-FCCE-4B88-BAD6-C5854D60B696}" dt="2021-05-19T06:44:02.951" v="1138" actId="478"/>
          <ac:picMkLst>
            <pc:docMk/>
            <pc:sldMk cId="3274212698" sldId="1925"/>
            <ac:picMk id="80" creationId="{39C7C8E8-3819-4704-9576-38320744029D}"/>
          </ac:picMkLst>
        </pc:picChg>
        <pc:picChg chg="del">
          <ac:chgData name="Aurelien Domont" userId="6da7715ce44349b3" providerId="LiveId" clId="{E6277905-FCCE-4B88-BAD6-C5854D60B696}" dt="2021-05-19T06:44:02.951" v="1138" actId="478"/>
          <ac:picMkLst>
            <pc:docMk/>
            <pc:sldMk cId="3274212698" sldId="1925"/>
            <ac:picMk id="81" creationId="{E1A1A112-7EBD-45B0-8611-7A7D55304913}"/>
          </ac:picMkLst>
        </pc:picChg>
        <pc:picChg chg="add mod">
          <ac:chgData name="Aurelien Domont" userId="6da7715ce44349b3" providerId="LiveId" clId="{E6277905-FCCE-4B88-BAD6-C5854D60B696}" dt="2021-05-19T06:45:08.943" v="1139"/>
          <ac:picMkLst>
            <pc:docMk/>
            <pc:sldMk cId="3274212698" sldId="1925"/>
            <ac:picMk id="93" creationId="{55D4B895-3F0B-4DD6-853E-DCC05E388F80}"/>
          </ac:picMkLst>
        </pc:picChg>
        <pc:picChg chg="add mod">
          <ac:chgData name="Aurelien Domont" userId="6da7715ce44349b3" providerId="LiveId" clId="{E6277905-FCCE-4B88-BAD6-C5854D60B696}" dt="2021-05-19T06:45:08.943" v="1139"/>
          <ac:picMkLst>
            <pc:docMk/>
            <pc:sldMk cId="3274212698" sldId="1925"/>
            <ac:picMk id="94" creationId="{E6B5A254-7475-41A8-AD4A-41672F41F9AD}"/>
          </ac:picMkLst>
        </pc:picChg>
        <pc:picChg chg="add mod">
          <ac:chgData name="Aurelien Domont" userId="6da7715ce44349b3" providerId="LiveId" clId="{E6277905-FCCE-4B88-BAD6-C5854D60B696}" dt="2021-05-19T06:45:08.943" v="1139"/>
          <ac:picMkLst>
            <pc:docMk/>
            <pc:sldMk cId="3274212698" sldId="1925"/>
            <ac:picMk id="95" creationId="{BAC39F4C-80C6-4F37-939A-FEC43265C745}"/>
          </ac:picMkLst>
        </pc:picChg>
        <pc:picChg chg="add mod">
          <ac:chgData name="Aurelien Domont" userId="6da7715ce44349b3" providerId="LiveId" clId="{E6277905-FCCE-4B88-BAD6-C5854D60B696}" dt="2021-05-19T06:45:08.943" v="1139"/>
          <ac:picMkLst>
            <pc:docMk/>
            <pc:sldMk cId="3274212698" sldId="1925"/>
            <ac:picMk id="96" creationId="{E8DA2080-DD45-41EE-A88B-D78AF94F664B}"/>
          </ac:picMkLst>
        </pc:picChg>
        <pc:picChg chg="add mod">
          <ac:chgData name="Aurelien Domont" userId="6da7715ce44349b3" providerId="LiveId" clId="{E6277905-FCCE-4B88-BAD6-C5854D60B696}" dt="2021-05-19T06:45:08.943" v="1139"/>
          <ac:picMkLst>
            <pc:docMk/>
            <pc:sldMk cId="3274212698" sldId="1925"/>
            <ac:picMk id="104" creationId="{C818559D-D1CC-483D-8C91-4FF20EF6C5E5}"/>
          </ac:picMkLst>
        </pc:picChg>
        <pc:picChg chg="add mod">
          <ac:chgData name="Aurelien Domont" userId="6da7715ce44349b3" providerId="LiveId" clId="{E6277905-FCCE-4B88-BAD6-C5854D60B696}" dt="2021-05-19T06:45:08.943" v="1139"/>
          <ac:picMkLst>
            <pc:docMk/>
            <pc:sldMk cId="3274212698" sldId="1925"/>
            <ac:picMk id="107" creationId="{2BA8F216-B9A4-4F55-8B5D-97927B4A9754}"/>
          </ac:picMkLst>
        </pc:picChg>
        <pc:picChg chg="add mod">
          <ac:chgData name="Aurelien Domont" userId="6da7715ce44349b3" providerId="LiveId" clId="{E6277905-FCCE-4B88-BAD6-C5854D60B696}" dt="2021-05-19T06:45:08.943" v="1139"/>
          <ac:picMkLst>
            <pc:docMk/>
            <pc:sldMk cId="3274212698" sldId="1925"/>
            <ac:picMk id="110" creationId="{AA72594A-CB70-4602-8A29-5BCAD24FC85B}"/>
          </ac:picMkLst>
        </pc:picChg>
        <pc:picChg chg="add mod">
          <ac:chgData name="Aurelien Domont" userId="6da7715ce44349b3" providerId="LiveId" clId="{E6277905-FCCE-4B88-BAD6-C5854D60B696}" dt="2021-05-19T06:45:08.943" v="1139"/>
          <ac:picMkLst>
            <pc:docMk/>
            <pc:sldMk cId="3274212698" sldId="1925"/>
            <ac:picMk id="113" creationId="{BE302D27-2062-4483-BA8A-40643D1A0757}"/>
          </ac:picMkLst>
        </pc:picChg>
        <pc:picChg chg="add mod">
          <ac:chgData name="Aurelien Domont" userId="6da7715ce44349b3" providerId="LiveId" clId="{E6277905-FCCE-4B88-BAD6-C5854D60B696}" dt="2021-05-19T06:45:08.943" v="1139"/>
          <ac:picMkLst>
            <pc:docMk/>
            <pc:sldMk cId="3274212698" sldId="1925"/>
            <ac:picMk id="118" creationId="{56FCC3FA-007A-40E2-B90C-01AFFCF85C47}"/>
          </ac:picMkLst>
        </pc:picChg>
        <pc:picChg chg="add mod">
          <ac:chgData name="Aurelien Domont" userId="6da7715ce44349b3" providerId="LiveId" clId="{E6277905-FCCE-4B88-BAD6-C5854D60B696}" dt="2021-05-19T06:45:08.943" v="1139"/>
          <ac:picMkLst>
            <pc:docMk/>
            <pc:sldMk cId="3274212698" sldId="1925"/>
            <ac:picMk id="119" creationId="{86CC8FE2-E91B-444C-9A8D-5927B10AD0D3}"/>
          </ac:picMkLst>
        </pc:picChg>
        <pc:picChg chg="add mod">
          <ac:chgData name="Aurelien Domont" userId="6da7715ce44349b3" providerId="LiveId" clId="{E6277905-FCCE-4B88-BAD6-C5854D60B696}" dt="2021-05-19T06:45:08.943" v="1139"/>
          <ac:picMkLst>
            <pc:docMk/>
            <pc:sldMk cId="3274212698" sldId="1925"/>
            <ac:picMk id="120" creationId="{7EF86C02-27FF-4AA3-B563-8410E16DC732}"/>
          </ac:picMkLst>
        </pc:picChg>
      </pc:sldChg>
      <pc:sldChg chg="del">
        <pc:chgData name="Aurelien Domont" userId="6da7715ce44349b3" providerId="LiveId" clId="{E6277905-FCCE-4B88-BAD6-C5854D60B696}" dt="2021-05-19T07:18:52.520" v="1773" actId="47"/>
        <pc:sldMkLst>
          <pc:docMk/>
          <pc:sldMk cId="4057054822" sldId="2147"/>
        </pc:sldMkLst>
      </pc:sldChg>
      <pc:sldChg chg="del">
        <pc:chgData name="Aurelien Domont" userId="6da7715ce44349b3" providerId="LiveId" clId="{E6277905-FCCE-4B88-BAD6-C5854D60B696}" dt="2021-05-19T07:18:52.520" v="1773" actId="47"/>
        <pc:sldMkLst>
          <pc:docMk/>
          <pc:sldMk cId="4208437711" sldId="2148"/>
        </pc:sldMkLst>
      </pc:sldChg>
      <pc:sldChg chg="delSp add del mod">
        <pc:chgData name="Aurelien Domont" userId="6da7715ce44349b3" providerId="LiveId" clId="{E6277905-FCCE-4B88-BAD6-C5854D60B696}" dt="2021-05-19T06:29:07.268" v="922" actId="47"/>
        <pc:sldMkLst>
          <pc:docMk/>
          <pc:sldMk cId="4006627445" sldId="2150"/>
        </pc:sldMkLst>
        <pc:spChg chg="del">
          <ac:chgData name="Aurelien Domont" userId="6da7715ce44349b3" providerId="LiveId" clId="{E6277905-FCCE-4B88-BAD6-C5854D60B696}" dt="2021-05-18T05:50:46.670" v="44" actId="478"/>
          <ac:spMkLst>
            <pc:docMk/>
            <pc:sldMk cId="4006627445" sldId="2150"/>
            <ac:spMk id="14" creationId="{1E88A16D-E54C-45FC-97FE-3A1C196DAF1A}"/>
          </ac:spMkLst>
        </pc:spChg>
      </pc:sldChg>
      <pc:sldChg chg="modSp add del mod">
        <pc:chgData name="Aurelien Domont" userId="6da7715ce44349b3" providerId="LiveId" clId="{E6277905-FCCE-4B88-BAD6-C5854D60B696}" dt="2021-05-19T06:28:23.391" v="921" actId="47"/>
        <pc:sldMkLst>
          <pc:docMk/>
          <pc:sldMk cId="800771593" sldId="2151"/>
        </pc:sldMkLst>
        <pc:spChg chg="mod">
          <ac:chgData name="Aurelien Domont" userId="6da7715ce44349b3" providerId="LiveId" clId="{E6277905-FCCE-4B88-BAD6-C5854D60B696}" dt="2021-05-19T05:54:39.115" v="328" actId="207"/>
          <ac:spMkLst>
            <pc:docMk/>
            <pc:sldMk cId="800771593" sldId="2151"/>
            <ac:spMk id="2" creationId="{8D91CEA2-A9A2-44FD-975C-6F4A2D59641D}"/>
          </ac:spMkLst>
        </pc:spChg>
      </pc:sldChg>
      <pc:sldChg chg="modSp add del mod">
        <pc:chgData name="Aurelien Domont" userId="6da7715ce44349b3" providerId="LiveId" clId="{E6277905-FCCE-4B88-BAD6-C5854D60B696}" dt="2021-05-19T06:28:21.064" v="920" actId="47"/>
        <pc:sldMkLst>
          <pc:docMk/>
          <pc:sldMk cId="3247063612" sldId="2152"/>
        </pc:sldMkLst>
        <pc:spChg chg="mod">
          <ac:chgData name="Aurelien Domont" userId="6da7715ce44349b3" providerId="LiveId" clId="{E6277905-FCCE-4B88-BAD6-C5854D60B696}" dt="2021-05-19T06:12:41.432" v="657" actId="108"/>
          <ac:spMkLst>
            <pc:docMk/>
            <pc:sldMk cId="3247063612" sldId="2152"/>
            <ac:spMk id="2" creationId="{8D91CEA2-A9A2-44FD-975C-6F4A2D59641D}"/>
          </ac:spMkLst>
        </pc:spChg>
      </pc:sldChg>
    </pc:docChg>
  </pc:docChgLst>
  <pc:docChgLst>
    <pc:chgData name="Aurelien Domont" userId="6da7715ce44349b3" providerId="LiveId" clId="{708DB9AC-5C18-4338-85D2-8ED15CB4EE65}"/>
    <pc:docChg chg="custSel delSld modSld">
      <pc:chgData name="Aurelien Domont" userId="6da7715ce44349b3" providerId="LiveId" clId="{708DB9AC-5C18-4338-85D2-8ED15CB4EE65}" dt="2021-09-27T04:06:36.393" v="7" actId="478"/>
      <pc:docMkLst>
        <pc:docMk/>
      </pc:docMkLst>
      <pc:sldChg chg="delSp mod">
        <pc:chgData name="Aurelien Domont" userId="6da7715ce44349b3" providerId="LiveId" clId="{708DB9AC-5C18-4338-85D2-8ED15CB4EE65}" dt="2021-09-27T04:06:17.089" v="0" actId="478"/>
        <pc:sldMkLst>
          <pc:docMk/>
          <pc:sldMk cId="3131901387" sldId="256"/>
        </pc:sldMkLst>
        <pc:spChg chg="del">
          <ac:chgData name="Aurelien Domont" userId="6da7715ce44349b3" providerId="LiveId" clId="{708DB9AC-5C18-4338-85D2-8ED15CB4EE65}" dt="2021-09-27T04:06:17.089" v="0" actId="478"/>
          <ac:spMkLst>
            <pc:docMk/>
            <pc:sldMk cId="3131901387" sldId="256"/>
            <ac:spMk id="13" creationId="{2B111224-3EFD-4F71-B658-32BA514FBF7C}"/>
          </ac:spMkLst>
        </pc:spChg>
      </pc:sldChg>
      <pc:sldChg chg="delSp mod">
        <pc:chgData name="Aurelien Domont" userId="6da7715ce44349b3" providerId="LiveId" clId="{708DB9AC-5C18-4338-85D2-8ED15CB4EE65}" dt="2021-09-27T04:06:26.405" v="3" actId="478"/>
        <pc:sldMkLst>
          <pc:docMk/>
          <pc:sldMk cId="3267209286" sldId="2255"/>
        </pc:sldMkLst>
        <pc:spChg chg="del">
          <ac:chgData name="Aurelien Domont" userId="6da7715ce44349b3" providerId="LiveId" clId="{708DB9AC-5C18-4338-85D2-8ED15CB4EE65}" dt="2021-09-27T04:06:26.405" v="3" actId="478"/>
          <ac:spMkLst>
            <pc:docMk/>
            <pc:sldMk cId="3267209286" sldId="2255"/>
            <ac:spMk id="8" creationId="{422046E5-4236-4DA6-A7FA-28377F764577}"/>
          </ac:spMkLst>
        </pc:spChg>
        <pc:spChg chg="del">
          <ac:chgData name="Aurelien Domont" userId="6da7715ce44349b3" providerId="LiveId" clId="{708DB9AC-5C18-4338-85D2-8ED15CB4EE65}" dt="2021-09-27T04:06:26.405" v="3" actId="478"/>
          <ac:spMkLst>
            <pc:docMk/>
            <pc:sldMk cId="3267209286" sldId="2255"/>
            <ac:spMk id="9" creationId="{344E1E47-F5D0-4B38-BE8C-A15927D389C3}"/>
          </ac:spMkLst>
        </pc:spChg>
      </pc:sldChg>
      <pc:sldChg chg="delSp mod">
        <pc:chgData name="Aurelien Domont" userId="6da7715ce44349b3" providerId="LiveId" clId="{708DB9AC-5C18-4338-85D2-8ED15CB4EE65}" dt="2021-09-27T04:06:20.890" v="1" actId="478"/>
        <pc:sldMkLst>
          <pc:docMk/>
          <pc:sldMk cId="1414117607" sldId="2256"/>
        </pc:sldMkLst>
        <pc:spChg chg="del">
          <ac:chgData name="Aurelien Domont" userId="6da7715ce44349b3" providerId="LiveId" clId="{708DB9AC-5C18-4338-85D2-8ED15CB4EE65}" dt="2021-09-27T04:06:20.890" v="1" actId="478"/>
          <ac:spMkLst>
            <pc:docMk/>
            <pc:sldMk cId="1414117607" sldId="2256"/>
            <ac:spMk id="87" creationId="{97A9D4FC-0843-4477-A7B4-85DA8107A3A5}"/>
          </ac:spMkLst>
        </pc:spChg>
      </pc:sldChg>
      <pc:sldChg chg="delSp mod">
        <pc:chgData name="Aurelien Domont" userId="6da7715ce44349b3" providerId="LiveId" clId="{708DB9AC-5C18-4338-85D2-8ED15CB4EE65}" dt="2021-09-27T04:06:29.148" v="4" actId="478"/>
        <pc:sldMkLst>
          <pc:docMk/>
          <pc:sldMk cId="3165524075" sldId="2257"/>
        </pc:sldMkLst>
        <pc:spChg chg="del">
          <ac:chgData name="Aurelien Domont" userId="6da7715ce44349b3" providerId="LiveId" clId="{708DB9AC-5C18-4338-85D2-8ED15CB4EE65}" dt="2021-09-27T04:06:29.148" v="4" actId="478"/>
          <ac:spMkLst>
            <pc:docMk/>
            <pc:sldMk cId="3165524075" sldId="2257"/>
            <ac:spMk id="10" creationId="{8F89796E-D8A9-45A9-97A6-3C2C9544E4F4}"/>
          </ac:spMkLst>
        </pc:spChg>
      </pc:sldChg>
      <pc:sldChg chg="del">
        <pc:chgData name="Aurelien Domont" userId="6da7715ce44349b3" providerId="LiveId" clId="{708DB9AC-5C18-4338-85D2-8ED15CB4EE65}" dt="2021-09-27T04:06:23.232" v="2" actId="47"/>
        <pc:sldMkLst>
          <pc:docMk/>
          <pc:sldMk cId="3181436094" sldId="2258"/>
        </pc:sldMkLst>
      </pc:sldChg>
      <pc:sldChg chg="delSp mod">
        <pc:chgData name="Aurelien Domont" userId="6da7715ce44349b3" providerId="LiveId" clId="{708DB9AC-5C18-4338-85D2-8ED15CB4EE65}" dt="2021-09-27T04:06:34.093" v="6" actId="478"/>
        <pc:sldMkLst>
          <pc:docMk/>
          <pc:sldMk cId="2826435675" sldId="2264"/>
        </pc:sldMkLst>
        <pc:spChg chg="del">
          <ac:chgData name="Aurelien Domont" userId="6da7715ce44349b3" providerId="LiveId" clId="{708DB9AC-5C18-4338-85D2-8ED15CB4EE65}" dt="2021-09-27T04:06:34.093" v="6" actId="478"/>
          <ac:spMkLst>
            <pc:docMk/>
            <pc:sldMk cId="2826435675" sldId="2264"/>
            <ac:spMk id="67" creationId="{3C2D5CC4-330E-4E11-83DC-BA6E541A4A39}"/>
          </ac:spMkLst>
        </pc:spChg>
      </pc:sldChg>
      <pc:sldChg chg="delSp mod">
        <pc:chgData name="Aurelien Domont" userId="6da7715ce44349b3" providerId="LiveId" clId="{708DB9AC-5C18-4338-85D2-8ED15CB4EE65}" dt="2021-09-27T04:06:32.321" v="5" actId="478"/>
        <pc:sldMkLst>
          <pc:docMk/>
          <pc:sldMk cId="2358097341" sldId="2266"/>
        </pc:sldMkLst>
        <pc:spChg chg="del">
          <ac:chgData name="Aurelien Domont" userId="6da7715ce44349b3" providerId="LiveId" clId="{708DB9AC-5C18-4338-85D2-8ED15CB4EE65}" dt="2021-09-27T04:06:32.321" v="5" actId="478"/>
          <ac:spMkLst>
            <pc:docMk/>
            <pc:sldMk cId="2358097341" sldId="2266"/>
            <ac:spMk id="67" creationId="{F6A3C2DF-30DC-4C63-9CDB-999FE65EFF5F}"/>
          </ac:spMkLst>
        </pc:spChg>
      </pc:sldChg>
      <pc:sldChg chg="delSp mod">
        <pc:chgData name="Aurelien Domont" userId="6da7715ce44349b3" providerId="LiveId" clId="{708DB9AC-5C18-4338-85D2-8ED15CB4EE65}" dt="2021-09-27T04:06:36.393" v="7" actId="478"/>
        <pc:sldMkLst>
          <pc:docMk/>
          <pc:sldMk cId="2417600701" sldId="2267"/>
        </pc:sldMkLst>
        <pc:spChg chg="del">
          <ac:chgData name="Aurelien Domont" userId="6da7715ce44349b3" providerId="LiveId" clId="{708DB9AC-5C18-4338-85D2-8ED15CB4EE65}" dt="2021-09-27T04:06:36.393" v="7" actId="478"/>
          <ac:spMkLst>
            <pc:docMk/>
            <pc:sldMk cId="2417600701" sldId="2267"/>
            <ac:spMk id="54" creationId="{356C026A-B5BD-4104-9F15-3DD6FB3C4F87}"/>
          </ac:spMkLst>
        </pc:spChg>
      </pc:sldChg>
    </pc:docChg>
  </pc:docChgLst>
  <pc:docChgLst>
    <pc:chgData name="Aurelien Domont" userId="6da7715ce44349b3" providerId="LiveId" clId="{55F57EB3-E1F5-4CE0-B2C9-79E7C493476E}"/>
    <pc:docChg chg="undo custSel addSld delSld modSld">
      <pc:chgData name="Aurelien Domont" userId="6da7715ce44349b3" providerId="LiveId" clId="{55F57EB3-E1F5-4CE0-B2C9-79E7C493476E}" dt="2021-05-26T04:49:13.998" v="763" actId="20577"/>
      <pc:docMkLst>
        <pc:docMk/>
      </pc:docMkLst>
      <pc:sldChg chg="del">
        <pc:chgData name="Aurelien Domont" userId="6da7715ce44349b3" providerId="LiveId" clId="{55F57EB3-E1F5-4CE0-B2C9-79E7C493476E}" dt="2021-05-26T04:00:42.730" v="0" actId="47"/>
        <pc:sldMkLst>
          <pc:docMk/>
          <pc:sldMk cId="1454614553" sldId="2150"/>
        </pc:sldMkLst>
      </pc:sldChg>
      <pc:sldChg chg="addSp delSp modSp add del mod">
        <pc:chgData name="Aurelien Domont" userId="6da7715ce44349b3" providerId="LiveId" clId="{55F57EB3-E1F5-4CE0-B2C9-79E7C493476E}" dt="2021-05-26T04:48:59.863" v="759" actId="14100"/>
        <pc:sldMkLst>
          <pc:docMk/>
          <pc:sldMk cId="1513791665" sldId="2172"/>
        </pc:sldMkLst>
        <pc:spChg chg="add del mod">
          <ac:chgData name="Aurelien Domont" userId="6da7715ce44349b3" providerId="LiveId" clId="{55F57EB3-E1F5-4CE0-B2C9-79E7C493476E}" dt="2021-05-26T04:48:56.230" v="756" actId="478"/>
          <ac:spMkLst>
            <pc:docMk/>
            <pc:sldMk cId="1513791665" sldId="2172"/>
            <ac:spMk id="8" creationId="{DB546A45-2C46-4CDF-910A-9F4412F53246}"/>
          </ac:spMkLst>
        </pc:spChg>
        <pc:spChg chg="add mod">
          <ac:chgData name="Aurelien Domont" userId="6da7715ce44349b3" providerId="LiveId" clId="{55F57EB3-E1F5-4CE0-B2C9-79E7C493476E}" dt="2021-05-26T04:48:59.863" v="759" actId="14100"/>
          <ac:spMkLst>
            <pc:docMk/>
            <pc:sldMk cId="1513791665" sldId="2172"/>
            <ac:spMk id="9" creationId="{68B5E494-9E64-4D7D-A0CC-7C85F84FAF81}"/>
          </ac:spMkLst>
        </pc:spChg>
      </pc:sldChg>
      <pc:sldChg chg="addSp delSp modSp add del mod">
        <pc:chgData name="Aurelien Domont" userId="6da7715ce44349b3" providerId="LiveId" clId="{55F57EB3-E1F5-4CE0-B2C9-79E7C493476E}" dt="2021-05-26T04:49:03.167" v="761"/>
        <pc:sldMkLst>
          <pc:docMk/>
          <pc:sldMk cId="1141822668" sldId="2176"/>
        </pc:sldMkLst>
        <pc:spChg chg="del">
          <ac:chgData name="Aurelien Domont" userId="6da7715ce44349b3" providerId="LiveId" clId="{55F57EB3-E1F5-4CE0-B2C9-79E7C493476E}" dt="2021-05-26T04:47:13.562" v="728" actId="478"/>
          <ac:spMkLst>
            <pc:docMk/>
            <pc:sldMk cId="1141822668" sldId="2176"/>
            <ac:spMk id="8" creationId="{DFE6F761-91D4-44B0-A4CE-7D95A291FA90}"/>
          </ac:spMkLst>
        </pc:spChg>
        <pc:spChg chg="add mod">
          <ac:chgData name="Aurelien Domont" userId="6da7715ce44349b3" providerId="LiveId" clId="{55F57EB3-E1F5-4CE0-B2C9-79E7C493476E}" dt="2021-05-26T04:49:03.167" v="761"/>
          <ac:spMkLst>
            <pc:docMk/>
            <pc:sldMk cId="1141822668" sldId="2176"/>
            <ac:spMk id="10" creationId="{B55C10AF-D7B8-4125-9466-6A5D3903FBF2}"/>
          </ac:spMkLst>
        </pc:spChg>
      </pc:sldChg>
      <pc:sldChg chg="del">
        <pc:chgData name="Aurelien Domont" userId="6da7715ce44349b3" providerId="LiveId" clId="{55F57EB3-E1F5-4CE0-B2C9-79E7C493476E}" dt="2021-05-26T04:47:05.908" v="726" actId="47"/>
        <pc:sldMkLst>
          <pc:docMk/>
          <pc:sldMk cId="3254900428" sldId="2177"/>
        </pc:sldMkLst>
      </pc:sldChg>
      <pc:sldChg chg="modSp mod">
        <pc:chgData name="Aurelien Domont" userId="6da7715ce44349b3" providerId="LiveId" clId="{55F57EB3-E1F5-4CE0-B2C9-79E7C493476E}" dt="2021-05-26T04:20:52.610" v="721" actId="1035"/>
        <pc:sldMkLst>
          <pc:docMk/>
          <pc:sldMk cId="3746824585" sldId="2179"/>
        </pc:sldMkLst>
        <pc:spChg chg="mod">
          <ac:chgData name="Aurelien Domont" userId="6da7715ce44349b3" providerId="LiveId" clId="{55F57EB3-E1F5-4CE0-B2C9-79E7C493476E}" dt="2021-05-26T04:20:52.610" v="721" actId="1035"/>
          <ac:spMkLst>
            <pc:docMk/>
            <pc:sldMk cId="3746824585" sldId="2179"/>
            <ac:spMk id="15" creationId="{D1D41F39-1E1F-402E-AD1F-A5FDB8A9FE95}"/>
          </ac:spMkLst>
        </pc:spChg>
      </pc:sldChg>
      <pc:sldChg chg="modSp mod">
        <pc:chgData name="Aurelien Domont" userId="6da7715ce44349b3" providerId="LiveId" clId="{55F57EB3-E1F5-4CE0-B2C9-79E7C493476E}" dt="2021-05-26T04:14:48.808" v="700" actId="20577"/>
        <pc:sldMkLst>
          <pc:docMk/>
          <pc:sldMk cId="4292960502" sldId="2184"/>
        </pc:sldMkLst>
        <pc:spChg chg="mod">
          <ac:chgData name="Aurelien Domont" userId="6da7715ce44349b3" providerId="LiveId" clId="{55F57EB3-E1F5-4CE0-B2C9-79E7C493476E}" dt="2021-05-26T04:14:48.808" v="700" actId="20577"/>
          <ac:spMkLst>
            <pc:docMk/>
            <pc:sldMk cId="4292960502" sldId="2184"/>
            <ac:spMk id="3" creationId="{6BE1B6B4-87AF-4A0F-9A81-38B388B86D24}"/>
          </ac:spMkLst>
        </pc:spChg>
      </pc:sldChg>
      <pc:sldChg chg="addSp modSp add">
        <pc:chgData name="Aurelien Domont" userId="6da7715ce44349b3" providerId="LiveId" clId="{55F57EB3-E1F5-4CE0-B2C9-79E7C493476E}" dt="2021-05-26T04:49:01.614" v="760"/>
        <pc:sldMkLst>
          <pc:docMk/>
          <pc:sldMk cId="542636106" sldId="2185"/>
        </pc:sldMkLst>
        <pc:spChg chg="add mod">
          <ac:chgData name="Aurelien Domont" userId="6da7715ce44349b3" providerId="LiveId" clId="{55F57EB3-E1F5-4CE0-B2C9-79E7C493476E}" dt="2021-05-26T04:49:01.614" v="760"/>
          <ac:spMkLst>
            <pc:docMk/>
            <pc:sldMk cId="542636106" sldId="2185"/>
            <ac:spMk id="8" creationId="{ECDEB1A2-CCBA-4981-8EBC-1B825B01B41E}"/>
          </ac:spMkLst>
        </pc:spChg>
      </pc:sldChg>
      <pc:sldChg chg="addSp delSp modSp add mod">
        <pc:chgData name="Aurelien Domont" userId="6da7715ce44349b3" providerId="LiveId" clId="{55F57EB3-E1F5-4CE0-B2C9-79E7C493476E}" dt="2021-05-26T04:49:13.998" v="763" actId="20577"/>
        <pc:sldMkLst>
          <pc:docMk/>
          <pc:sldMk cId="264443487" sldId="2186"/>
        </pc:sldMkLst>
        <pc:spChg chg="del">
          <ac:chgData name="Aurelien Domont" userId="6da7715ce44349b3" providerId="LiveId" clId="{55F57EB3-E1F5-4CE0-B2C9-79E7C493476E}" dt="2021-05-26T04:47:10.574" v="727" actId="478"/>
          <ac:spMkLst>
            <pc:docMk/>
            <pc:sldMk cId="264443487" sldId="2186"/>
            <ac:spMk id="8" creationId="{DFE6F761-91D4-44B0-A4CE-7D95A291FA90}"/>
          </ac:spMkLst>
        </pc:spChg>
        <pc:spChg chg="add mod">
          <ac:chgData name="Aurelien Domont" userId="6da7715ce44349b3" providerId="LiveId" clId="{55F57EB3-E1F5-4CE0-B2C9-79E7C493476E}" dt="2021-05-26T04:49:13.998" v="763" actId="20577"/>
          <ac:spMkLst>
            <pc:docMk/>
            <pc:sldMk cId="264443487" sldId="2186"/>
            <ac:spMk id="10" creationId="{BB1969C4-0997-4353-855A-C9E4E40CF32C}"/>
          </ac:spMkLst>
        </pc:spChg>
      </pc:sld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docChgLst>
    <pc:chgData name="Aurelien Domont" userId="6da7715ce44349b3" providerId="LiveId" clId="{1A8A682A-64A0-4F89-BCDB-B1B36372C87D}"/>
    <pc:docChg chg="custSel addSld delSld modSld">
      <pc:chgData name="Aurelien Domont" userId="6da7715ce44349b3" providerId="LiveId" clId="{1A8A682A-64A0-4F89-BCDB-B1B36372C87D}" dt="2021-09-27T04:05:11.996" v="515" actId="790"/>
      <pc:docMkLst>
        <pc:docMk/>
      </pc:docMkLst>
      <pc:sldChg chg="addSp modSp mod">
        <pc:chgData name="Aurelien Domont" userId="6da7715ce44349b3" providerId="LiveId" clId="{1A8A682A-64A0-4F89-BCDB-B1B36372C87D}" dt="2021-09-27T03:49:15.808" v="55" actId="20577"/>
        <pc:sldMkLst>
          <pc:docMk/>
          <pc:sldMk cId="3131901387" sldId="256"/>
        </pc:sldMkLst>
        <pc:spChg chg="add mod">
          <ac:chgData name="Aurelien Domont" userId="6da7715ce44349b3" providerId="LiveId" clId="{1A8A682A-64A0-4F89-BCDB-B1B36372C87D}" dt="2021-09-27T03:49:15.808" v="55" actId="20577"/>
          <ac:spMkLst>
            <pc:docMk/>
            <pc:sldMk cId="3131901387" sldId="256"/>
            <ac:spMk id="13" creationId="{2B111224-3EFD-4F71-B658-32BA514FBF7C}"/>
          </ac:spMkLst>
        </pc:spChg>
      </pc:sldChg>
      <pc:sldChg chg="addSp delSp modSp mod">
        <pc:chgData name="Aurelien Domont" userId="6da7715ce44349b3" providerId="LiveId" clId="{1A8A682A-64A0-4F89-BCDB-B1B36372C87D}" dt="2021-09-27T04:05:11.996" v="515" actId="790"/>
        <pc:sldMkLst>
          <pc:docMk/>
          <pc:sldMk cId="1110778063" sldId="2183"/>
        </pc:sldMkLst>
        <pc:spChg chg="add mod">
          <ac:chgData name="Aurelien Domont" userId="6da7715ce44349b3" providerId="LiveId" clId="{1A8A682A-64A0-4F89-BCDB-B1B36372C87D}" dt="2021-09-27T03:59:20.731" v="121" actId="207"/>
          <ac:spMkLst>
            <pc:docMk/>
            <pc:sldMk cId="1110778063" sldId="2183"/>
            <ac:spMk id="28" creationId="{8F9BDE7E-730C-4EE1-89B3-9A9B2496A6C6}"/>
          </ac:spMkLst>
        </pc:spChg>
        <pc:spChg chg="add mod">
          <ac:chgData name="Aurelien Domont" userId="6da7715ce44349b3" providerId="LiveId" clId="{1A8A682A-64A0-4F89-BCDB-B1B36372C87D}" dt="2021-09-27T03:59:17.022" v="120"/>
          <ac:spMkLst>
            <pc:docMk/>
            <pc:sldMk cId="1110778063" sldId="2183"/>
            <ac:spMk id="29" creationId="{078EF8B0-6CE0-4835-A802-F0021CA4CD86}"/>
          </ac:spMkLst>
        </pc:spChg>
        <pc:spChg chg="add mod">
          <ac:chgData name="Aurelien Domont" userId="6da7715ce44349b3" providerId="LiveId" clId="{1A8A682A-64A0-4F89-BCDB-B1B36372C87D}" dt="2021-09-27T03:59:17.022" v="120"/>
          <ac:spMkLst>
            <pc:docMk/>
            <pc:sldMk cId="1110778063" sldId="2183"/>
            <ac:spMk id="30" creationId="{AE5C5FA7-A0F8-4E37-B653-5DEE20994878}"/>
          </ac:spMkLst>
        </pc:spChg>
        <pc:spChg chg="add mod">
          <ac:chgData name="Aurelien Domont" userId="6da7715ce44349b3" providerId="LiveId" clId="{1A8A682A-64A0-4F89-BCDB-B1B36372C87D}" dt="2021-09-27T03:59:17.022" v="120"/>
          <ac:spMkLst>
            <pc:docMk/>
            <pc:sldMk cId="1110778063" sldId="2183"/>
            <ac:spMk id="31" creationId="{9C6E01BE-5D06-49F2-977D-AAFECF30CA00}"/>
          </ac:spMkLst>
        </pc:spChg>
        <pc:spChg chg="add mod">
          <ac:chgData name="Aurelien Domont" userId="6da7715ce44349b3" providerId="LiveId" clId="{1A8A682A-64A0-4F89-BCDB-B1B36372C87D}" dt="2021-09-27T03:59:17.022" v="120"/>
          <ac:spMkLst>
            <pc:docMk/>
            <pc:sldMk cId="1110778063" sldId="2183"/>
            <ac:spMk id="32" creationId="{65212FAF-8972-4CA9-8F39-A75479F25D95}"/>
          </ac:spMkLst>
        </pc:spChg>
        <pc:spChg chg="add mod">
          <ac:chgData name="Aurelien Domont" userId="6da7715ce44349b3" providerId="LiveId" clId="{1A8A682A-64A0-4F89-BCDB-B1B36372C87D}" dt="2021-09-27T03:59:17.022" v="120"/>
          <ac:spMkLst>
            <pc:docMk/>
            <pc:sldMk cId="1110778063" sldId="2183"/>
            <ac:spMk id="33" creationId="{5C134501-0C0B-4D44-BFA9-EFE5E4074136}"/>
          </ac:spMkLst>
        </pc:spChg>
        <pc:spChg chg="add mod">
          <ac:chgData name="Aurelien Domont" userId="6da7715ce44349b3" providerId="LiveId" clId="{1A8A682A-64A0-4F89-BCDB-B1B36372C87D}" dt="2021-09-27T03:59:17.022" v="120"/>
          <ac:spMkLst>
            <pc:docMk/>
            <pc:sldMk cId="1110778063" sldId="2183"/>
            <ac:spMk id="44" creationId="{031206D3-8DE3-4373-9529-10DD6BCF69E0}"/>
          </ac:spMkLst>
        </pc:spChg>
        <pc:spChg chg="add mod">
          <ac:chgData name="Aurelien Domont" userId="6da7715ce44349b3" providerId="LiveId" clId="{1A8A682A-64A0-4F89-BCDB-B1B36372C87D}" dt="2021-09-27T03:59:17.022" v="120"/>
          <ac:spMkLst>
            <pc:docMk/>
            <pc:sldMk cId="1110778063" sldId="2183"/>
            <ac:spMk id="45" creationId="{1ECD97B7-8C35-450A-A45B-A9685E355ED3}"/>
          </ac:spMkLst>
        </pc:spChg>
        <pc:spChg chg="add mod">
          <ac:chgData name="Aurelien Domont" userId="6da7715ce44349b3" providerId="LiveId" clId="{1A8A682A-64A0-4F89-BCDB-B1B36372C87D}" dt="2021-09-27T03:59:17.022" v="120"/>
          <ac:spMkLst>
            <pc:docMk/>
            <pc:sldMk cId="1110778063" sldId="2183"/>
            <ac:spMk id="46" creationId="{AF78A30E-1CE8-4045-BC75-7F6B2908A6B0}"/>
          </ac:spMkLst>
        </pc:spChg>
        <pc:spChg chg="add mod">
          <ac:chgData name="Aurelien Domont" userId="6da7715ce44349b3" providerId="LiveId" clId="{1A8A682A-64A0-4F89-BCDB-B1B36372C87D}" dt="2021-09-27T03:59:17.022" v="120"/>
          <ac:spMkLst>
            <pc:docMk/>
            <pc:sldMk cId="1110778063" sldId="2183"/>
            <ac:spMk id="47" creationId="{EBDE75AA-0BD1-4C3B-A59B-A53E267A2848}"/>
          </ac:spMkLst>
        </pc:spChg>
        <pc:spChg chg="add mod">
          <ac:chgData name="Aurelien Domont" userId="6da7715ce44349b3" providerId="LiveId" clId="{1A8A682A-64A0-4F89-BCDB-B1B36372C87D}" dt="2021-09-27T03:59:17.022" v="120"/>
          <ac:spMkLst>
            <pc:docMk/>
            <pc:sldMk cId="1110778063" sldId="2183"/>
            <ac:spMk id="48" creationId="{A1EAD102-98DE-40D0-ACE3-99A379D68ABF}"/>
          </ac:spMkLst>
        </pc:spChg>
        <pc:spChg chg="add mod">
          <ac:chgData name="Aurelien Domont" userId="6da7715ce44349b3" providerId="LiveId" clId="{1A8A682A-64A0-4F89-BCDB-B1B36372C87D}" dt="2021-09-27T04:05:11.996" v="515" actId="790"/>
          <ac:spMkLst>
            <pc:docMk/>
            <pc:sldMk cId="1110778063" sldId="2183"/>
            <ac:spMk id="50" creationId="{0D05D79D-0878-4B39-A352-4415BD8534FA}"/>
          </ac:spMkLst>
        </pc:spChg>
        <pc:spChg chg="del">
          <ac:chgData name="Aurelien Domont" userId="6da7715ce44349b3" providerId="LiveId" clId="{1A8A682A-64A0-4F89-BCDB-B1B36372C87D}" dt="2021-09-27T03:59:16.484" v="119" actId="478"/>
          <ac:spMkLst>
            <pc:docMk/>
            <pc:sldMk cId="1110778063" sldId="2183"/>
            <ac:spMk id="58" creationId="{8EC5A2FC-FC90-4F2C-A7C9-4F13BFFF0F0B}"/>
          </ac:spMkLst>
        </pc:spChg>
        <pc:spChg chg="del">
          <ac:chgData name="Aurelien Domont" userId="6da7715ce44349b3" providerId="LiveId" clId="{1A8A682A-64A0-4F89-BCDB-B1B36372C87D}" dt="2021-09-27T03:59:16.484" v="119" actId="478"/>
          <ac:spMkLst>
            <pc:docMk/>
            <pc:sldMk cId="1110778063" sldId="2183"/>
            <ac:spMk id="59" creationId="{1A8CF0CB-06ED-4B6E-82F4-49752DF7D285}"/>
          </ac:spMkLst>
        </pc:spChg>
        <pc:spChg chg="del">
          <ac:chgData name="Aurelien Domont" userId="6da7715ce44349b3" providerId="LiveId" clId="{1A8A682A-64A0-4F89-BCDB-B1B36372C87D}" dt="2021-09-27T03:59:16.484" v="119" actId="478"/>
          <ac:spMkLst>
            <pc:docMk/>
            <pc:sldMk cId="1110778063" sldId="2183"/>
            <ac:spMk id="60" creationId="{996CA9A4-3BC1-4692-B9C4-38ACF5CB637B}"/>
          </ac:spMkLst>
        </pc:spChg>
        <pc:spChg chg="del">
          <ac:chgData name="Aurelien Domont" userId="6da7715ce44349b3" providerId="LiveId" clId="{1A8A682A-64A0-4F89-BCDB-B1B36372C87D}" dt="2021-09-27T03:59:16.484" v="119" actId="478"/>
          <ac:spMkLst>
            <pc:docMk/>
            <pc:sldMk cId="1110778063" sldId="2183"/>
            <ac:spMk id="61" creationId="{2650748F-B50C-4879-AD56-9C43F0259E19}"/>
          </ac:spMkLst>
        </pc:spChg>
        <pc:spChg chg="del">
          <ac:chgData name="Aurelien Domont" userId="6da7715ce44349b3" providerId="LiveId" clId="{1A8A682A-64A0-4F89-BCDB-B1B36372C87D}" dt="2021-09-27T03:59:16.484" v="119" actId="478"/>
          <ac:spMkLst>
            <pc:docMk/>
            <pc:sldMk cId="1110778063" sldId="2183"/>
            <ac:spMk id="62" creationId="{253C3F97-599A-48C1-942A-C0AA9BE4FD9D}"/>
          </ac:spMkLst>
        </pc:spChg>
        <pc:spChg chg="del">
          <ac:chgData name="Aurelien Domont" userId="6da7715ce44349b3" providerId="LiveId" clId="{1A8A682A-64A0-4F89-BCDB-B1B36372C87D}" dt="2021-09-27T03:59:16.484" v="119" actId="478"/>
          <ac:spMkLst>
            <pc:docMk/>
            <pc:sldMk cId="1110778063" sldId="2183"/>
            <ac:spMk id="63" creationId="{9C1CBF8B-AFBD-4FFE-8BA6-E905A8E1AB2C}"/>
          </ac:spMkLst>
        </pc:spChg>
        <pc:spChg chg="del">
          <ac:chgData name="Aurelien Domont" userId="6da7715ce44349b3" providerId="LiveId" clId="{1A8A682A-64A0-4F89-BCDB-B1B36372C87D}" dt="2021-09-27T03:59:16.484" v="119" actId="478"/>
          <ac:spMkLst>
            <pc:docMk/>
            <pc:sldMk cId="1110778063" sldId="2183"/>
            <ac:spMk id="75" creationId="{EC335A50-F0AB-4CFC-97C5-E628D9C1B7E7}"/>
          </ac:spMkLst>
        </pc:spChg>
        <pc:spChg chg="del">
          <ac:chgData name="Aurelien Domont" userId="6da7715ce44349b3" providerId="LiveId" clId="{1A8A682A-64A0-4F89-BCDB-B1B36372C87D}" dt="2021-09-27T03:59:16.484" v="119" actId="478"/>
          <ac:spMkLst>
            <pc:docMk/>
            <pc:sldMk cId="1110778063" sldId="2183"/>
            <ac:spMk id="76" creationId="{35BDBBB0-B864-4D14-8C33-B59018BA2477}"/>
          </ac:spMkLst>
        </pc:spChg>
        <pc:spChg chg="del">
          <ac:chgData name="Aurelien Domont" userId="6da7715ce44349b3" providerId="LiveId" clId="{1A8A682A-64A0-4F89-BCDB-B1B36372C87D}" dt="2021-09-27T03:59:16.484" v="119" actId="478"/>
          <ac:spMkLst>
            <pc:docMk/>
            <pc:sldMk cId="1110778063" sldId="2183"/>
            <ac:spMk id="77" creationId="{C717DA0A-F837-43E9-B421-E4CD7C412B66}"/>
          </ac:spMkLst>
        </pc:spChg>
        <pc:spChg chg="del">
          <ac:chgData name="Aurelien Domont" userId="6da7715ce44349b3" providerId="LiveId" clId="{1A8A682A-64A0-4F89-BCDB-B1B36372C87D}" dt="2021-09-27T03:59:16.484" v="119" actId="478"/>
          <ac:spMkLst>
            <pc:docMk/>
            <pc:sldMk cId="1110778063" sldId="2183"/>
            <ac:spMk id="78" creationId="{93905D2B-26D0-4825-BE9A-CBCA19C2E50B}"/>
          </ac:spMkLst>
        </pc:spChg>
        <pc:spChg chg="del">
          <ac:chgData name="Aurelien Domont" userId="6da7715ce44349b3" providerId="LiveId" clId="{1A8A682A-64A0-4F89-BCDB-B1B36372C87D}" dt="2021-09-27T03:59:16.484" v="119" actId="478"/>
          <ac:spMkLst>
            <pc:docMk/>
            <pc:sldMk cId="1110778063" sldId="2183"/>
            <ac:spMk id="79" creationId="{9CBC8D51-6F6C-42D6-8A5A-7CC6B293DCC3}"/>
          </ac:spMkLst>
        </pc:spChg>
        <pc:spChg chg="del">
          <ac:chgData name="Aurelien Domont" userId="6da7715ce44349b3" providerId="LiveId" clId="{1A8A682A-64A0-4F89-BCDB-B1B36372C87D}" dt="2021-09-27T03:59:16.484" v="119" actId="478"/>
          <ac:spMkLst>
            <pc:docMk/>
            <pc:sldMk cId="1110778063" sldId="2183"/>
            <ac:spMk id="80" creationId="{C29EFF6B-5B73-48C1-9F0D-20C5A7252D7D}"/>
          </ac:spMkLst>
        </pc:spChg>
        <pc:picChg chg="add mod">
          <ac:chgData name="Aurelien Domont" userId="6da7715ce44349b3" providerId="LiveId" clId="{1A8A682A-64A0-4F89-BCDB-B1B36372C87D}" dt="2021-09-27T03:59:17.022" v="120"/>
          <ac:picMkLst>
            <pc:docMk/>
            <pc:sldMk cId="1110778063" sldId="2183"/>
            <ac:picMk id="34" creationId="{80AA7FAE-A8A0-4844-94B1-0FF8CDE8E6E8}"/>
          </ac:picMkLst>
        </pc:picChg>
        <pc:picChg chg="add mod">
          <ac:chgData name="Aurelien Domont" userId="6da7715ce44349b3" providerId="LiveId" clId="{1A8A682A-64A0-4F89-BCDB-B1B36372C87D}" dt="2021-09-27T03:59:17.022" v="120"/>
          <ac:picMkLst>
            <pc:docMk/>
            <pc:sldMk cId="1110778063" sldId="2183"/>
            <ac:picMk id="35" creationId="{2F93D4AC-F457-4BE5-8BEE-0AD26CE133A6}"/>
          </ac:picMkLst>
        </pc:picChg>
        <pc:picChg chg="add mod">
          <ac:chgData name="Aurelien Domont" userId="6da7715ce44349b3" providerId="LiveId" clId="{1A8A682A-64A0-4F89-BCDB-B1B36372C87D}" dt="2021-09-27T03:59:17.022" v="120"/>
          <ac:picMkLst>
            <pc:docMk/>
            <pc:sldMk cId="1110778063" sldId="2183"/>
            <ac:picMk id="36" creationId="{8FCF1F5F-C7DD-4995-AB78-8FD34690585F}"/>
          </ac:picMkLst>
        </pc:picChg>
        <pc:picChg chg="add mod">
          <ac:chgData name="Aurelien Domont" userId="6da7715ce44349b3" providerId="LiveId" clId="{1A8A682A-64A0-4F89-BCDB-B1B36372C87D}" dt="2021-09-27T03:59:17.022" v="120"/>
          <ac:picMkLst>
            <pc:docMk/>
            <pc:sldMk cId="1110778063" sldId="2183"/>
            <ac:picMk id="37" creationId="{D04F496A-15FB-445A-A235-050F1C2EE43E}"/>
          </ac:picMkLst>
        </pc:picChg>
        <pc:picChg chg="add mod">
          <ac:chgData name="Aurelien Domont" userId="6da7715ce44349b3" providerId="LiveId" clId="{1A8A682A-64A0-4F89-BCDB-B1B36372C87D}" dt="2021-09-27T03:59:17.022" v="120"/>
          <ac:picMkLst>
            <pc:docMk/>
            <pc:sldMk cId="1110778063" sldId="2183"/>
            <ac:picMk id="38" creationId="{D52D31FD-1F3A-4666-AE5E-D5FB82C2F493}"/>
          </ac:picMkLst>
        </pc:picChg>
        <pc:picChg chg="add mod">
          <ac:chgData name="Aurelien Domont" userId="6da7715ce44349b3" providerId="LiveId" clId="{1A8A682A-64A0-4F89-BCDB-B1B36372C87D}" dt="2021-09-27T03:59:17.022" v="120"/>
          <ac:picMkLst>
            <pc:docMk/>
            <pc:sldMk cId="1110778063" sldId="2183"/>
            <ac:picMk id="49" creationId="{B57531DE-D857-49EC-91D0-FDDC937B6F2A}"/>
          </ac:picMkLst>
        </pc:picChg>
        <pc:picChg chg="del">
          <ac:chgData name="Aurelien Domont" userId="6da7715ce44349b3" providerId="LiveId" clId="{1A8A682A-64A0-4F89-BCDB-B1B36372C87D}" dt="2021-09-27T03:59:16.484" v="119" actId="478"/>
          <ac:picMkLst>
            <pc:docMk/>
            <pc:sldMk cId="1110778063" sldId="2183"/>
            <ac:picMk id="64" creationId="{57A61CAA-ACC3-46F3-B468-E22F84FFC79C}"/>
          </ac:picMkLst>
        </pc:picChg>
        <pc:picChg chg="del">
          <ac:chgData name="Aurelien Domont" userId="6da7715ce44349b3" providerId="LiveId" clId="{1A8A682A-64A0-4F89-BCDB-B1B36372C87D}" dt="2021-09-27T03:59:16.484" v="119" actId="478"/>
          <ac:picMkLst>
            <pc:docMk/>
            <pc:sldMk cId="1110778063" sldId="2183"/>
            <ac:picMk id="65" creationId="{3107F273-099A-4EE3-A99B-52FE94298423}"/>
          </ac:picMkLst>
        </pc:picChg>
        <pc:picChg chg="del">
          <ac:chgData name="Aurelien Domont" userId="6da7715ce44349b3" providerId="LiveId" clId="{1A8A682A-64A0-4F89-BCDB-B1B36372C87D}" dt="2021-09-27T03:59:16.484" v="119" actId="478"/>
          <ac:picMkLst>
            <pc:docMk/>
            <pc:sldMk cId="1110778063" sldId="2183"/>
            <ac:picMk id="66" creationId="{0532CEFC-C10E-436F-9585-4D042DD8A1E7}"/>
          </ac:picMkLst>
        </pc:picChg>
        <pc:picChg chg="del">
          <ac:chgData name="Aurelien Domont" userId="6da7715ce44349b3" providerId="LiveId" clId="{1A8A682A-64A0-4F89-BCDB-B1B36372C87D}" dt="2021-09-27T03:59:16.484" v="119" actId="478"/>
          <ac:picMkLst>
            <pc:docMk/>
            <pc:sldMk cId="1110778063" sldId="2183"/>
            <ac:picMk id="67" creationId="{C6F3C424-E8F5-441E-9F56-4D1DBD2F4AE9}"/>
          </ac:picMkLst>
        </pc:picChg>
        <pc:picChg chg="del">
          <ac:chgData name="Aurelien Domont" userId="6da7715ce44349b3" providerId="LiveId" clId="{1A8A682A-64A0-4F89-BCDB-B1B36372C87D}" dt="2021-09-27T03:59:16.484" v="119" actId="478"/>
          <ac:picMkLst>
            <pc:docMk/>
            <pc:sldMk cId="1110778063" sldId="2183"/>
            <ac:picMk id="68" creationId="{395BFC42-F969-44A2-8E86-492A0CCD7E5E}"/>
          </ac:picMkLst>
        </pc:picChg>
        <pc:picChg chg="del">
          <ac:chgData name="Aurelien Domont" userId="6da7715ce44349b3" providerId="LiveId" clId="{1A8A682A-64A0-4F89-BCDB-B1B36372C87D}" dt="2021-09-27T03:59:16.484" v="119" actId="478"/>
          <ac:picMkLst>
            <pc:docMk/>
            <pc:sldMk cId="1110778063" sldId="2183"/>
            <ac:picMk id="69" creationId="{E46CB7E9-0C03-408C-9732-B87942F56361}"/>
          </ac:picMkLst>
        </pc:picChg>
        <pc:cxnChg chg="add mod">
          <ac:chgData name="Aurelien Domont" userId="6da7715ce44349b3" providerId="LiveId" clId="{1A8A682A-64A0-4F89-BCDB-B1B36372C87D}" dt="2021-09-27T03:59:17.022" v="120"/>
          <ac:cxnSpMkLst>
            <pc:docMk/>
            <pc:sldMk cId="1110778063" sldId="2183"/>
            <ac:cxnSpMk id="39" creationId="{60C8DCDD-31E6-4BA7-B497-3DCCF23AA785}"/>
          </ac:cxnSpMkLst>
        </pc:cxnChg>
        <pc:cxnChg chg="add mod">
          <ac:chgData name="Aurelien Domont" userId="6da7715ce44349b3" providerId="LiveId" clId="{1A8A682A-64A0-4F89-BCDB-B1B36372C87D}" dt="2021-09-27T03:59:17.022" v="120"/>
          <ac:cxnSpMkLst>
            <pc:docMk/>
            <pc:sldMk cId="1110778063" sldId="2183"/>
            <ac:cxnSpMk id="40" creationId="{A27DC926-5380-4197-89F6-485A6B60E5D8}"/>
          </ac:cxnSpMkLst>
        </pc:cxnChg>
        <pc:cxnChg chg="add mod">
          <ac:chgData name="Aurelien Domont" userId="6da7715ce44349b3" providerId="LiveId" clId="{1A8A682A-64A0-4F89-BCDB-B1B36372C87D}" dt="2021-09-27T03:59:17.022" v="120"/>
          <ac:cxnSpMkLst>
            <pc:docMk/>
            <pc:sldMk cId="1110778063" sldId="2183"/>
            <ac:cxnSpMk id="41" creationId="{D65E369C-3B5A-420E-81AC-9FF16EA04399}"/>
          </ac:cxnSpMkLst>
        </pc:cxnChg>
        <pc:cxnChg chg="add mod">
          <ac:chgData name="Aurelien Domont" userId="6da7715ce44349b3" providerId="LiveId" clId="{1A8A682A-64A0-4F89-BCDB-B1B36372C87D}" dt="2021-09-27T03:59:17.022" v="120"/>
          <ac:cxnSpMkLst>
            <pc:docMk/>
            <pc:sldMk cId="1110778063" sldId="2183"/>
            <ac:cxnSpMk id="42" creationId="{8EA4FA02-791D-43CB-9E3F-CA7FF605E6A5}"/>
          </ac:cxnSpMkLst>
        </pc:cxnChg>
        <pc:cxnChg chg="add mod">
          <ac:chgData name="Aurelien Domont" userId="6da7715ce44349b3" providerId="LiveId" clId="{1A8A682A-64A0-4F89-BCDB-B1B36372C87D}" dt="2021-09-27T03:59:17.022" v="120"/>
          <ac:cxnSpMkLst>
            <pc:docMk/>
            <pc:sldMk cId="1110778063" sldId="2183"/>
            <ac:cxnSpMk id="43" creationId="{F5C98630-4C4D-4E74-9274-FA97E0AFD211}"/>
          </ac:cxnSpMkLst>
        </pc:cxnChg>
        <pc:cxnChg chg="del">
          <ac:chgData name="Aurelien Domont" userId="6da7715ce44349b3" providerId="LiveId" clId="{1A8A682A-64A0-4F89-BCDB-B1B36372C87D}" dt="2021-09-27T03:59:16.484" v="119" actId="478"/>
          <ac:cxnSpMkLst>
            <pc:docMk/>
            <pc:sldMk cId="1110778063" sldId="2183"/>
            <ac:cxnSpMk id="70" creationId="{3C9743CD-405E-489B-A25C-EB0BA4CD16DC}"/>
          </ac:cxnSpMkLst>
        </pc:cxnChg>
        <pc:cxnChg chg="del">
          <ac:chgData name="Aurelien Domont" userId="6da7715ce44349b3" providerId="LiveId" clId="{1A8A682A-64A0-4F89-BCDB-B1B36372C87D}" dt="2021-09-27T03:59:16.484" v="119" actId="478"/>
          <ac:cxnSpMkLst>
            <pc:docMk/>
            <pc:sldMk cId="1110778063" sldId="2183"/>
            <ac:cxnSpMk id="71" creationId="{7BDC3EEB-4FE4-4E1A-890A-117700076608}"/>
          </ac:cxnSpMkLst>
        </pc:cxnChg>
        <pc:cxnChg chg="del">
          <ac:chgData name="Aurelien Domont" userId="6da7715ce44349b3" providerId="LiveId" clId="{1A8A682A-64A0-4F89-BCDB-B1B36372C87D}" dt="2021-09-27T03:59:16.484" v="119" actId="478"/>
          <ac:cxnSpMkLst>
            <pc:docMk/>
            <pc:sldMk cId="1110778063" sldId="2183"/>
            <ac:cxnSpMk id="72" creationId="{FB3C9C1B-5C5F-46D1-91E0-8C48D9DBEE25}"/>
          </ac:cxnSpMkLst>
        </pc:cxnChg>
        <pc:cxnChg chg="del">
          <ac:chgData name="Aurelien Domont" userId="6da7715ce44349b3" providerId="LiveId" clId="{1A8A682A-64A0-4F89-BCDB-B1B36372C87D}" dt="2021-09-27T03:59:16.484" v="119" actId="478"/>
          <ac:cxnSpMkLst>
            <pc:docMk/>
            <pc:sldMk cId="1110778063" sldId="2183"/>
            <ac:cxnSpMk id="73" creationId="{03D08CE1-3304-451C-A2AA-D6D42164B080}"/>
          </ac:cxnSpMkLst>
        </pc:cxnChg>
        <pc:cxnChg chg="del">
          <ac:chgData name="Aurelien Domont" userId="6da7715ce44349b3" providerId="LiveId" clId="{1A8A682A-64A0-4F89-BCDB-B1B36372C87D}" dt="2021-09-27T03:59:16.484" v="119" actId="478"/>
          <ac:cxnSpMkLst>
            <pc:docMk/>
            <pc:sldMk cId="1110778063" sldId="2183"/>
            <ac:cxnSpMk id="74" creationId="{446B4827-0AD5-41BC-BCFF-D6E5916DBF63}"/>
          </ac:cxnSpMkLst>
        </pc:cxnChg>
      </pc:sldChg>
      <pc:sldChg chg="modSp del mod">
        <pc:chgData name="Aurelien Domont" userId="6da7715ce44349b3" providerId="LiveId" clId="{1A8A682A-64A0-4F89-BCDB-B1B36372C87D}" dt="2021-09-27T04:00:44.916" v="231" actId="47"/>
        <pc:sldMkLst>
          <pc:docMk/>
          <pc:sldMk cId="2328899945" sldId="2215"/>
        </pc:sldMkLst>
        <pc:spChg chg="mod">
          <ac:chgData name="Aurelien Domont" userId="6da7715ce44349b3" providerId="LiveId" clId="{1A8A682A-64A0-4F89-BCDB-B1B36372C87D}" dt="2021-09-27T03:58:53.338" v="118"/>
          <ac:spMkLst>
            <pc:docMk/>
            <pc:sldMk cId="2328899945" sldId="2215"/>
            <ac:spMk id="39" creationId="{DE3CB515-9A1A-4855-ADD6-6A3482DCA643}"/>
          </ac:spMkLst>
        </pc:spChg>
      </pc:sldChg>
      <pc:sldChg chg="del">
        <pc:chgData name="Aurelien Domont" userId="6da7715ce44349b3" providerId="LiveId" clId="{1A8A682A-64A0-4F89-BCDB-B1B36372C87D}" dt="2021-09-27T03:59:32.655" v="125" actId="47"/>
        <pc:sldMkLst>
          <pc:docMk/>
          <pc:sldMk cId="2756278302" sldId="2251"/>
        </pc:sldMkLst>
      </pc:sldChg>
      <pc:sldChg chg="del">
        <pc:chgData name="Aurelien Domont" userId="6da7715ce44349b3" providerId="LiveId" clId="{1A8A682A-64A0-4F89-BCDB-B1B36372C87D}" dt="2021-09-27T03:49:43.711" v="57" actId="47"/>
        <pc:sldMkLst>
          <pc:docMk/>
          <pc:sldMk cId="430783151" sldId="2253"/>
        </pc:sldMkLst>
      </pc:sldChg>
      <pc:sldChg chg="del">
        <pc:chgData name="Aurelien Domont" userId="6da7715ce44349b3" providerId="LiveId" clId="{1A8A682A-64A0-4F89-BCDB-B1B36372C87D}" dt="2021-09-27T03:49:33.383" v="56" actId="47"/>
        <pc:sldMkLst>
          <pc:docMk/>
          <pc:sldMk cId="1614003528" sldId="2254"/>
        </pc:sldMkLst>
      </pc:sldChg>
      <pc:sldChg chg="modSp mod">
        <pc:chgData name="Aurelien Domont" userId="6da7715ce44349b3" providerId="LiveId" clId="{1A8A682A-64A0-4F89-BCDB-B1B36372C87D}" dt="2021-09-27T04:02:17.050" v="377" actId="20577"/>
        <pc:sldMkLst>
          <pc:docMk/>
          <pc:sldMk cId="1414117607" sldId="2256"/>
        </pc:sldMkLst>
        <pc:spChg chg="mod">
          <ac:chgData name="Aurelien Domont" userId="6da7715ce44349b3" providerId="LiveId" clId="{1A8A682A-64A0-4F89-BCDB-B1B36372C87D}" dt="2021-09-27T04:02:17.050" v="377" actId="20577"/>
          <ac:spMkLst>
            <pc:docMk/>
            <pc:sldMk cId="1414117607" sldId="2256"/>
            <ac:spMk id="87" creationId="{97A9D4FC-0843-4477-A7B4-85DA8107A3A5}"/>
          </ac:spMkLst>
        </pc:spChg>
      </pc:sldChg>
      <pc:sldChg chg="del">
        <pc:chgData name="Aurelien Domont" userId="6da7715ce44349b3" providerId="LiveId" clId="{1A8A682A-64A0-4F89-BCDB-B1B36372C87D}" dt="2021-09-27T03:59:48.144" v="149" actId="47"/>
        <pc:sldMkLst>
          <pc:docMk/>
          <pc:sldMk cId="591530649" sldId="2259"/>
        </pc:sldMkLst>
      </pc:sldChg>
      <pc:sldChg chg="del">
        <pc:chgData name="Aurelien Domont" userId="6da7715ce44349b3" providerId="LiveId" clId="{1A8A682A-64A0-4F89-BCDB-B1B36372C87D}" dt="2021-09-27T03:59:53.937" v="151" actId="47"/>
        <pc:sldMkLst>
          <pc:docMk/>
          <pc:sldMk cId="3892343677" sldId="2260"/>
        </pc:sldMkLst>
      </pc:sldChg>
      <pc:sldChg chg="del">
        <pc:chgData name="Aurelien Domont" userId="6da7715ce44349b3" providerId="LiveId" clId="{1A8A682A-64A0-4F89-BCDB-B1B36372C87D}" dt="2021-09-27T04:00:11.705" v="178" actId="47"/>
        <pc:sldMkLst>
          <pc:docMk/>
          <pc:sldMk cId="1795110437" sldId="2263"/>
        </pc:sldMkLst>
      </pc:sldChg>
      <pc:sldChg chg="addSp delSp modSp mod">
        <pc:chgData name="Aurelien Domont" userId="6da7715ce44349b3" providerId="LiveId" clId="{1A8A682A-64A0-4F89-BCDB-B1B36372C87D}" dt="2021-09-27T04:03:36.940" v="389" actId="1076"/>
        <pc:sldMkLst>
          <pc:docMk/>
          <pc:sldMk cId="2826435675" sldId="2264"/>
        </pc:sldMkLst>
        <pc:spChg chg="add del mod">
          <ac:chgData name="Aurelien Domont" userId="6da7715ce44349b3" providerId="LiveId" clId="{1A8A682A-64A0-4F89-BCDB-B1B36372C87D}" dt="2021-09-27T04:03:25.814" v="383" actId="21"/>
          <ac:spMkLst>
            <pc:docMk/>
            <pc:sldMk cId="2826435675" sldId="2264"/>
            <ac:spMk id="66" creationId="{F21FA359-6CEA-4E31-B3BC-9968C324001F}"/>
          </ac:spMkLst>
        </pc:spChg>
        <pc:spChg chg="add mod">
          <ac:chgData name="Aurelien Domont" userId="6da7715ce44349b3" providerId="LiveId" clId="{1A8A682A-64A0-4F89-BCDB-B1B36372C87D}" dt="2021-09-27T04:03:36.940" v="389" actId="1076"/>
          <ac:spMkLst>
            <pc:docMk/>
            <pc:sldMk cId="2826435675" sldId="2264"/>
            <ac:spMk id="67" creationId="{3C2D5CC4-330E-4E11-83DC-BA6E541A4A39}"/>
          </ac:spMkLst>
        </pc:spChg>
      </pc:sldChg>
      <pc:sldChg chg="addSp delSp modSp mod">
        <pc:chgData name="Aurelien Domont" userId="6da7715ce44349b3" providerId="LiveId" clId="{1A8A682A-64A0-4F89-BCDB-B1B36372C87D}" dt="2021-09-27T04:04:10.870" v="489" actId="313"/>
        <pc:sldMkLst>
          <pc:docMk/>
          <pc:sldMk cId="2358097341" sldId="2266"/>
        </pc:sldMkLst>
        <pc:spChg chg="add del mod">
          <ac:chgData name="Aurelien Domont" userId="6da7715ce44349b3" providerId="LiveId" clId="{1A8A682A-64A0-4F89-BCDB-B1B36372C87D}" dt="2021-09-27T04:03:33.185" v="387" actId="21"/>
          <ac:spMkLst>
            <pc:docMk/>
            <pc:sldMk cId="2358097341" sldId="2266"/>
            <ac:spMk id="66" creationId="{91A6A283-E4C0-4A91-A7E2-5CCF631AF33E}"/>
          </ac:spMkLst>
        </pc:spChg>
        <pc:spChg chg="add mod">
          <ac:chgData name="Aurelien Domont" userId="6da7715ce44349b3" providerId="LiveId" clId="{1A8A682A-64A0-4F89-BCDB-B1B36372C87D}" dt="2021-09-27T04:04:10.870" v="489" actId="313"/>
          <ac:spMkLst>
            <pc:docMk/>
            <pc:sldMk cId="2358097341" sldId="2266"/>
            <ac:spMk id="67" creationId="{F6A3C2DF-30DC-4C63-9CDB-999FE65EFF5F}"/>
          </ac:spMkLst>
        </pc:spChg>
      </pc:sldChg>
      <pc:sldChg chg="addSp delSp modSp mod">
        <pc:chgData name="Aurelien Domont" userId="6da7715ce44349b3" providerId="LiveId" clId="{1A8A682A-64A0-4F89-BCDB-B1B36372C87D}" dt="2021-09-27T04:03:29.700" v="386" actId="1076"/>
        <pc:sldMkLst>
          <pc:docMk/>
          <pc:sldMk cId="2417600701" sldId="2267"/>
        </pc:sldMkLst>
        <pc:spChg chg="add del mod">
          <ac:chgData name="Aurelien Domont" userId="6da7715ce44349b3" providerId="LiveId" clId="{1A8A682A-64A0-4F89-BCDB-B1B36372C87D}" dt="2021-09-27T04:03:27.686" v="384" actId="478"/>
          <ac:spMkLst>
            <pc:docMk/>
            <pc:sldMk cId="2417600701" sldId="2267"/>
            <ac:spMk id="53" creationId="{B0E31872-5A74-4367-912B-84799A6DF91C}"/>
          </ac:spMkLst>
        </pc:spChg>
        <pc:spChg chg="add mod">
          <ac:chgData name="Aurelien Domont" userId="6da7715ce44349b3" providerId="LiveId" clId="{1A8A682A-64A0-4F89-BCDB-B1B36372C87D}" dt="2021-09-27T04:03:29.700" v="386" actId="1076"/>
          <ac:spMkLst>
            <pc:docMk/>
            <pc:sldMk cId="2417600701" sldId="2267"/>
            <ac:spMk id="54" creationId="{356C026A-B5BD-4104-9F15-3DD6FB3C4F87}"/>
          </ac:spMkLst>
        </pc:spChg>
      </pc:sldChg>
      <pc:sldChg chg="del">
        <pc:chgData name="Aurelien Domont" userId="6da7715ce44349b3" providerId="LiveId" clId="{1A8A682A-64A0-4F89-BCDB-B1B36372C87D}" dt="2021-09-27T04:00:26.967" v="196" actId="47"/>
        <pc:sldMkLst>
          <pc:docMk/>
          <pc:sldMk cId="1189819266" sldId="2271"/>
        </pc:sldMkLst>
      </pc:sldChg>
      <pc:sldChg chg="modSp mod">
        <pc:chgData name="Aurelien Domont" userId="6da7715ce44349b3" providerId="LiveId" clId="{1A8A682A-64A0-4F89-BCDB-B1B36372C87D}" dt="2021-09-27T04:01:23.324" v="257" actId="14100"/>
        <pc:sldMkLst>
          <pc:docMk/>
          <pc:sldMk cId="255163349" sldId="2273"/>
        </pc:sldMkLst>
        <pc:spChg chg="mod">
          <ac:chgData name="Aurelien Domont" userId="6da7715ce44349b3" providerId="LiveId" clId="{1A8A682A-64A0-4F89-BCDB-B1B36372C87D}" dt="2021-09-27T04:01:23.324" v="257" actId="14100"/>
          <ac:spMkLst>
            <pc:docMk/>
            <pc:sldMk cId="255163349" sldId="2273"/>
            <ac:spMk id="11" creationId="{D3A11C3E-8F34-49E3-8B72-D0AF8C6C170C}"/>
          </ac:spMkLst>
        </pc:spChg>
        <pc:spChg chg="mod">
          <ac:chgData name="Aurelien Domont" userId="6da7715ce44349b3" providerId="LiveId" clId="{1A8A682A-64A0-4F89-BCDB-B1B36372C87D}" dt="2021-09-27T04:01:10.209" v="255"/>
          <ac:spMkLst>
            <pc:docMk/>
            <pc:sldMk cId="255163349" sldId="2273"/>
            <ac:spMk id="16" creationId="{6C2BB713-9637-4B9B-938F-E9768876782A}"/>
          </ac:spMkLst>
        </pc:spChg>
      </pc:sldChg>
      <pc:sldChg chg="del">
        <pc:chgData name="Aurelien Domont" userId="6da7715ce44349b3" providerId="LiveId" clId="{1A8A682A-64A0-4F89-BCDB-B1B36372C87D}" dt="2021-09-27T04:01:28.421" v="258" actId="47"/>
        <pc:sldMkLst>
          <pc:docMk/>
          <pc:sldMk cId="1209666918" sldId="2274"/>
        </pc:sldMkLst>
      </pc:sldChg>
      <pc:sldChg chg="addSp modSp add mod">
        <pc:chgData name="Aurelien Domont" userId="6da7715ce44349b3" providerId="LiveId" clId="{1A8A682A-64A0-4F89-BCDB-B1B36372C87D}" dt="2021-09-27T04:04:25.484" v="508" actId="20577"/>
        <pc:sldMkLst>
          <pc:docMk/>
          <pc:sldMk cId="269974327" sldId="2275"/>
        </pc:sldMkLst>
        <pc:spChg chg="mod">
          <ac:chgData name="Aurelien Domont" userId="6da7715ce44349b3" providerId="LiveId" clId="{1A8A682A-64A0-4F89-BCDB-B1B36372C87D}" dt="2021-09-27T04:04:25.484" v="508" actId="20577"/>
          <ac:spMkLst>
            <pc:docMk/>
            <pc:sldMk cId="269974327" sldId="2275"/>
            <ac:spMk id="16" creationId="{6C2BB713-9637-4B9B-938F-E9768876782A}"/>
          </ac:spMkLst>
        </pc:spChg>
        <pc:spChg chg="add mod ord">
          <ac:chgData name="Aurelien Domont" userId="6da7715ce44349b3" providerId="LiveId" clId="{1A8A682A-64A0-4F89-BCDB-B1B36372C87D}" dt="2021-09-27T03:59:30.743" v="124" actId="167"/>
          <ac:spMkLst>
            <pc:docMk/>
            <pc:sldMk cId="269974327" sldId="2275"/>
            <ac:spMk id="51" creationId="{68B158B8-7CF3-468D-B984-74FB7B51383C}"/>
          </ac:spMkLst>
        </pc:spChg>
      </pc:sldChg>
      <pc:sldChg chg="modSp add mod">
        <pc:chgData name="Aurelien Domont" userId="6da7715ce44349b3" providerId="LiveId" clId="{1A8A682A-64A0-4F89-BCDB-B1B36372C87D}" dt="2021-09-27T04:04:29.910" v="509"/>
        <pc:sldMkLst>
          <pc:docMk/>
          <pc:sldMk cId="1823550066" sldId="2276"/>
        </pc:sldMkLst>
        <pc:spChg chg="mod">
          <ac:chgData name="Aurelien Domont" userId="6da7715ce44349b3" providerId="LiveId" clId="{1A8A682A-64A0-4F89-BCDB-B1B36372C87D}" dt="2021-09-27T04:04:29.910" v="509"/>
          <ac:spMkLst>
            <pc:docMk/>
            <pc:sldMk cId="1823550066" sldId="2276"/>
            <ac:spMk id="16" creationId="{6C2BB713-9637-4B9B-938F-E9768876782A}"/>
          </ac:spMkLst>
        </pc:spChg>
        <pc:spChg chg="mod">
          <ac:chgData name="Aurelien Domont" userId="6da7715ce44349b3" providerId="LiveId" clId="{1A8A682A-64A0-4F89-BCDB-B1B36372C87D}" dt="2021-09-27T03:59:43.743" v="148" actId="14100"/>
          <ac:spMkLst>
            <pc:docMk/>
            <pc:sldMk cId="1823550066" sldId="2276"/>
            <ac:spMk id="51" creationId="{68B158B8-7CF3-468D-B984-74FB7B51383C}"/>
          </ac:spMkLst>
        </pc:spChg>
      </pc:sldChg>
      <pc:sldChg chg="modSp add mod">
        <pc:chgData name="Aurelien Domont" userId="6da7715ce44349b3" providerId="LiveId" clId="{1A8A682A-64A0-4F89-BCDB-B1B36372C87D}" dt="2021-09-27T04:04:32.290" v="510"/>
        <pc:sldMkLst>
          <pc:docMk/>
          <pc:sldMk cId="2142042928" sldId="2277"/>
        </pc:sldMkLst>
        <pc:spChg chg="mod">
          <ac:chgData name="Aurelien Domont" userId="6da7715ce44349b3" providerId="LiveId" clId="{1A8A682A-64A0-4F89-BCDB-B1B36372C87D}" dt="2021-09-27T04:04:32.290" v="510"/>
          <ac:spMkLst>
            <pc:docMk/>
            <pc:sldMk cId="2142042928" sldId="2277"/>
            <ac:spMk id="16" creationId="{6C2BB713-9637-4B9B-938F-E9768876782A}"/>
          </ac:spMkLst>
        </pc:spChg>
        <pc:spChg chg="mod">
          <ac:chgData name="Aurelien Domont" userId="6da7715ce44349b3" providerId="LiveId" clId="{1A8A682A-64A0-4F89-BCDB-B1B36372C87D}" dt="2021-09-27T04:00:04.265" v="176" actId="14100"/>
          <ac:spMkLst>
            <pc:docMk/>
            <pc:sldMk cId="2142042928" sldId="2277"/>
            <ac:spMk id="51" creationId="{68B158B8-7CF3-468D-B984-74FB7B51383C}"/>
          </ac:spMkLst>
        </pc:spChg>
      </pc:sldChg>
      <pc:sldChg chg="modSp add mod">
        <pc:chgData name="Aurelien Domont" userId="6da7715ce44349b3" providerId="LiveId" clId="{1A8A682A-64A0-4F89-BCDB-B1B36372C87D}" dt="2021-09-27T04:04:34.632" v="511"/>
        <pc:sldMkLst>
          <pc:docMk/>
          <pc:sldMk cId="1102897466" sldId="2278"/>
        </pc:sldMkLst>
        <pc:spChg chg="mod">
          <ac:chgData name="Aurelien Domont" userId="6da7715ce44349b3" providerId="LiveId" clId="{1A8A682A-64A0-4F89-BCDB-B1B36372C87D}" dt="2021-09-27T04:04:34.632" v="511"/>
          <ac:spMkLst>
            <pc:docMk/>
            <pc:sldMk cId="1102897466" sldId="2278"/>
            <ac:spMk id="16" creationId="{6C2BB713-9637-4B9B-938F-E9768876782A}"/>
          </ac:spMkLst>
        </pc:spChg>
        <pc:spChg chg="mod">
          <ac:chgData name="Aurelien Domont" userId="6da7715ce44349b3" providerId="LiveId" clId="{1A8A682A-64A0-4F89-BCDB-B1B36372C87D}" dt="2021-09-27T04:00:16.377" v="194" actId="1036"/>
          <ac:spMkLst>
            <pc:docMk/>
            <pc:sldMk cId="1102897466" sldId="2278"/>
            <ac:spMk id="51" creationId="{68B158B8-7CF3-468D-B984-74FB7B51383C}"/>
          </ac:spMkLst>
        </pc:spChg>
      </pc:sldChg>
      <pc:sldChg chg="modSp add mod">
        <pc:chgData name="Aurelien Domont" userId="6da7715ce44349b3" providerId="LiveId" clId="{1A8A682A-64A0-4F89-BCDB-B1B36372C87D}" dt="2021-09-27T04:04:38.209" v="512"/>
        <pc:sldMkLst>
          <pc:docMk/>
          <pc:sldMk cId="873032743" sldId="2279"/>
        </pc:sldMkLst>
        <pc:spChg chg="mod">
          <ac:chgData name="Aurelien Domont" userId="6da7715ce44349b3" providerId="LiveId" clId="{1A8A682A-64A0-4F89-BCDB-B1B36372C87D}" dt="2021-09-27T04:04:38.209" v="512"/>
          <ac:spMkLst>
            <pc:docMk/>
            <pc:sldMk cId="873032743" sldId="2279"/>
            <ac:spMk id="16" creationId="{6C2BB713-9637-4B9B-938F-E9768876782A}"/>
          </ac:spMkLst>
        </pc:spChg>
        <pc:spChg chg="mod">
          <ac:chgData name="Aurelien Domont" userId="6da7715ce44349b3" providerId="LiveId" clId="{1A8A682A-64A0-4F89-BCDB-B1B36372C87D}" dt="2021-09-27T04:00:35.730" v="229" actId="14100"/>
          <ac:spMkLst>
            <pc:docMk/>
            <pc:sldMk cId="873032743" sldId="2279"/>
            <ac:spMk id="51" creationId="{68B158B8-7CF3-468D-B984-74FB7B51383C}"/>
          </ac:spMkLst>
        </pc:spChg>
      </pc:sldChg>
      <pc:sldChg chg="modSp add mod">
        <pc:chgData name="Aurelien Domont" userId="6da7715ce44349b3" providerId="LiveId" clId="{1A8A682A-64A0-4F89-BCDB-B1B36372C87D}" dt="2021-09-27T04:04:41.425" v="513"/>
        <pc:sldMkLst>
          <pc:docMk/>
          <pc:sldMk cId="1345028840" sldId="2280"/>
        </pc:sldMkLst>
        <pc:spChg chg="mod">
          <ac:chgData name="Aurelien Domont" userId="6da7715ce44349b3" providerId="LiveId" clId="{1A8A682A-64A0-4F89-BCDB-B1B36372C87D}" dt="2021-09-27T04:04:41.425" v="513"/>
          <ac:spMkLst>
            <pc:docMk/>
            <pc:sldMk cId="1345028840" sldId="2280"/>
            <ac:spMk id="16" creationId="{6C2BB713-9637-4B9B-938F-E9768876782A}"/>
          </ac:spMkLst>
        </pc:spChg>
        <pc:spChg chg="mod">
          <ac:chgData name="Aurelien Domont" userId="6da7715ce44349b3" providerId="LiveId" clId="{1A8A682A-64A0-4F89-BCDB-B1B36372C87D}" dt="2021-09-27T04:00:51.563" v="246" actId="14100"/>
          <ac:spMkLst>
            <pc:docMk/>
            <pc:sldMk cId="1345028840" sldId="2280"/>
            <ac:spMk id="51" creationId="{68B158B8-7CF3-468D-B984-74FB7B51383C}"/>
          </ac:spMkLst>
        </pc:spChg>
      </pc:sldChg>
    </pc:docChg>
  </pc:docChgLst>
  <pc:docChgLst>
    <pc:chgData name="Aurelien Domont" userId="6da7715ce44349b3" providerId="LiveId" clId="{C18CC5C4-3AAC-491D-9097-885406CBF5DB}"/>
    <pc:docChg chg="custSel addSld delSld modSld">
      <pc:chgData name="Aurelien Domont" userId="6da7715ce44349b3" providerId="LiveId" clId="{C18CC5C4-3AAC-491D-9097-885406CBF5DB}" dt="2021-05-04T04:11:38.160" v="272" actId="478"/>
      <pc:docMkLst>
        <pc:docMk/>
      </pc:docMkLst>
      <pc:sldChg chg="modSp mod">
        <pc:chgData name="Aurelien Domont" userId="6da7715ce44349b3" providerId="LiveId" clId="{C18CC5C4-3AAC-491D-9097-885406CBF5DB}" dt="2021-05-04T03:22:26.865" v="21" actId="20577"/>
        <pc:sldMkLst>
          <pc:docMk/>
          <pc:sldMk cId="3131901387" sldId="256"/>
        </pc:sldMkLst>
        <pc:spChg chg="mod">
          <ac:chgData name="Aurelien Domont" userId="6da7715ce44349b3" providerId="LiveId" clId="{C18CC5C4-3AAC-491D-9097-885406CBF5DB}" dt="2021-05-04T03:22:26.865" v="21" actId="20577"/>
          <ac:spMkLst>
            <pc:docMk/>
            <pc:sldMk cId="3131901387" sldId="256"/>
            <ac:spMk id="2" creationId="{5261080C-C60C-4746-B6B1-A9A4FFA86785}"/>
          </ac:spMkLst>
        </pc:spChg>
      </pc:sldChg>
      <pc:sldChg chg="del">
        <pc:chgData name="Aurelien Domont" userId="6da7715ce44349b3" providerId="LiveId" clId="{C18CC5C4-3AAC-491D-9097-885406CBF5DB}" dt="2021-05-04T03:29:51.423" v="270" actId="47"/>
        <pc:sldMkLst>
          <pc:docMk/>
          <pc:sldMk cId="3692499981" sldId="1597"/>
        </pc:sldMkLst>
      </pc:sldChg>
      <pc:sldChg chg="del">
        <pc:chgData name="Aurelien Domont" userId="6da7715ce44349b3" providerId="LiveId" clId="{C18CC5C4-3AAC-491D-9097-885406CBF5DB}" dt="2021-05-04T03:29:41.764" v="269" actId="47"/>
        <pc:sldMkLst>
          <pc:docMk/>
          <pc:sldMk cId="1754585881" sldId="1598"/>
        </pc:sldMkLst>
      </pc:sldChg>
      <pc:sldChg chg="del">
        <pc:chgData name="Aurelien Domont" userId="6da7715ce44349b3" providerId="LiveId" clId="{C18CC5C4-3AAC-491D-9097-885406CBF5DB}" dt="2021-05-04T03:29:41.764" v="269" actId="47"/>
        <pc:sldMkLst>
          <pc:docMk/>
          <pc:sldMk cId="748962572" sldId="1599"/>
        </pc:sldMkLst>
      </pc:sldChg>
      <pc:sldChg chg="del">
        <pc:chgData name="Aurelien Domont" userId="6da7715ce44349b3" providerId="LiveId" clId="{C18CC5C4-3AAC-491D-9097-885406CBF5DB}" dt="2021-05-04T03:29:41.764" v="269" actId="47"/>
        <pc:sldMkLst>
          <pc:docMk/>
          <pc:sldMk cId="2853806433" sldId="1600"/>
        </pc:sldMkLst>
      </pc:sldChg>
      <pc:sldChg chg="modSp mod">
        <pc:chgData name="Aurelien Domont" userId="6da7715ce44349b3" providerId="LiveId" clId="{C18CC5C4-3AAC-491D-9097-885406CBF5DB}" dt="2021-05-04T03:28:04.054" v="247" actId="20577"/>
        <pc:sldMkLst>
          <pc:docMk/>
          <pc:sldMk cId="3324303879" sldId="1917"/>
        </pc:sldMkLst>
        <pc:spChg chg="mod">
          <ac:chgData name="Aurelien Domont" userId="6da7715ce44349b3" providerId="LiveId" clId="{C18CC5C4-3AAC-491D-9097-885406CBF5DB}" dt="2021-05-04T03:28:04.054" v="247" actId="20577"/>
          <ac:spMkLst>
            <pc:docMk/>
            <pc:sldMk cId="3324303879" sldId="1917"/>
            <ac:spMk id="14" creationId="{956AA4B1-A1E2-4421-8BDC-FFA14C801B6B}"/>
          </ac:spMkLst>
        </pc:spChg>
        <pc:spChg chg="mod">
          <ac:chgData name="Aurelien Domont" userId="6da7715ce44349b3" providerId="LiveId" clId="{C18CC5C4-3AAC-491D-9097-885406CBF5DB}" dt="2021-05-04T03:24:41.474" v="69" actId="20577"/>
          <ac:spMkLst>
            <pc:docMk/>
            <pc:sldMk cId="3324303879" sldId="1917"/>
            <ac:spMk id="16" creationId="{6C2BB713-9637-4B9B-938F-E9768876782A}"/>
          </ac:spMkLst>
        </pc:spChg>
      </pc:sldChg>
      <pc:sldChg chg="modSp mod">
        <pc:chgData name="Aurelien Domont" userId="6da7715ce44349b3" providerId="LiveId" clId="{C18CC5C4-3AAC-491D-9097-885406CBF5DB}" dt="2021-05-04T03:24:04.586" v="51" actId="313"/>
        <pc:sldMkLst>
          <pc:docMk/>
          <pc:sldMk cId="1872329668" sldId="1923"/>
        </pc:sldMkLst>
        <pc:spChg chg="mod">
          <ac:chgData name="Aurelien Domont" userId="6da7715ce44349b3" providerId="LiveId" clId="{C18CC5C4-3AAC-491D-9097-885406CBF5DB}" dt="2021-05-04T03:24:04.586" v="51" actId="313"/>
          <ac:spMkLst>
            <pc:docMk/>
            <pc:sldMk cId="1872329668" sldId="1923"/>
            <ac:spMk id="14" creationId="{C9800183-F524-4412-AB39-A6E1A21FF0B3}"/>
          </ac:spMkLst>
        </pc:spChg>
      </pc:sldChg>
      <pc:sldChg chg="delSp modSp mod">
        <pc:chgData name="Aurelien Domont" userId="6da7715ce44349b3" providerId="LiveId" clId="{C18CC5C4-3AAC-491D-9097-885406CBF5DB}" dt="2021-05-04T04:11:38.160" v="272" actId="478"/>
        <pc:sldMkLst>
          <pc:docMk/>
          <pc:sldMk cId="1659127470" sldId="1924"/>
        </pc:sldMkLst>
        <pc:spChg chg="del">
          <ac:chgData name="Aurelien Domont" userId="6da7715ce44349b3" providerId="LiveId" clId="{C18CC5C4-3AAC-491D-9097-885406CBF5DB}" dt="2021-05-04T04:11:38.160" v="272" actId="478"/>
          <ac:spMkLst>
            <pc:docMk/>
            <pc:sldMk cId="1659127470" sldId="1924"/>
            <ac:spMk id="2" creationId="{47EAB931-197A-40BB-B426-D6D65C61BAA2}"/>
          </ac:spMkLst>
        </pc:spChg>
        <pc:spChg chg="mod">
          <ac:chgData name="Aurelien Domont" userId="6da7715ce44349b3" providerId="LiveId" clId="{C18CC5C4-3AAC-491D-9097-885406CBF5DB}" dt="2021-05-04T03:28:53.465" v="267" actId="20577"/>
          <ac:spMkLst>
            <pc:docMk/>
            <pc:sldMk cId="1659127470" sldId="1924"/>
            <ac:spMk id="16" creationId="{6C2BB713-9637-4B9B-938F-E9768876782A}"/>
          </ac:spMkLst>
        </pc:spChg>
      </pc:sldChg>
      <pc:sldChg chg="add">
        <pc:chgData name="Aurelien Domont" userId="6da7715ce44349b3" providerId="LiveId" clId="{C18CC5C4-3AAC-491D-9097-885406CBF5DB}" dt="2021-05-04T03:29:39.341" v="268"/>
        <pc:sldMkLst>
          <pc:docMk/>
          <pc:sldMk cId="3274212698" sldId="1925"/>
        </pc:sldMkLst>
      </pc:sldChg>
      <pc:sldChg chg="add del">
        <pc:chgData name="Aurelien Domont" userId="6da7715ce44349b3" providerId="LiveId" clId="{C18CC5C4-3AAC-491D-9097-885406CBF5DB}" dt="2021-05-04T03:30:17.302" v="271" actId="47"/>
        <pc:sldMkLst>
          <pc:docMk/>
          <pc:sldMk cId="3028091984" sldId="2146"/>
        </pc:sldMkLst>
      </pc:sldChg>
      <pc:sldChg chg="add">
        <pc:chgData name="Aurelien Domont" userId="6da7715ce44349b3" providerId="LiveId" clId="{C18CC5C4-3AAC-491D-9097-885406CBF5DB}" dt="2021-05-04T03:29:39.341" v="268"/>
        <pc:sldMkLst>
          <pc:docMk/>
          <pc:sldMk cId="4057054822" sldId="2147"/>
        </pc:sldMkLst>
      </pc:sldChg>
      <pc:sldChg chg="add">
        <pc:chgData name="Aurelien Domont" userId="6da7715ce44349b3" providerId="LiveId" clId="{C18CC5C4-3AAC-491D-9097-885406CBF5DB}" dt="2021-05-04T03:29:39.341" v="268"/>
        <pc:sldMkLst>
          <pc:docMk/>
          <pc:sldMk cId="4208437711" sldId="2148"/>
        </pc:sldMkLst>
      </pc:sldChg>
      <pc:sldChg chg="add">
        <pc:chgData name="Aurelien Domont" userId="6da7715ce44349b3" providerId="LiveId" clId="{C18CC5C4-3AAC-491D-9097-885406CBF5DB}" dt="2021-05-04T03:29:39.341" v="268"/>
        <pc:sldMkLst>
          <pc:docMk/>
          <pc:sldMk cId="1289725493" sldId="2149"/>
        </pc:sldMkLst>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03T07:57:58.124" v="648" actId="20577"/>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365A8E39-D1EE-4FEE-9D5E-3CC57D750A89}"/>
    <pc:docChg chg="undo custSel addSld delSld modSld sldOrd">
      <pc:chgData name="Aurelien Domont" userId="6da7715ce44349b3" providerId="LiveId" clId="{365A8E39-D1EE-4FEE-9D5E-3CC57D750A89}" dt="2021-09-22T06:17:04.853" v="4238" actId="20577"/>
      <pc:docMkLst>
        <pc:docMk/>
      </pc:docMkLst>
      <pc:sldChg chg="modSp mod">
        <pc:chgData name="Aurelien Domont" userId="6da7715ce44349b3" providerId="LiveId" clId="{365A8E39-D1EE-4FEE-9D5E-3CC57D750A89}" dt="2021-09-21T23:56:28.756" v="8" actId="113"/>
        <pc:sldMkLst>
          <pc:docMk/>
          <pc:sldMk cId="3131901387" sldId="256"/>
        </pc:sldMkLst>
        <pc:spChg chg="mod">
          <ac:chgData name="Aurelien Domont" userId="6da7715ce44349b3" providerId="LiveId" clId="{365A8E39-D1EE-4FEE-9D5E-3CC57D750A89}" dt="2021-09-21T23:56:28.756" v="8" actId="113"/>
          <ac:spMkLst>
            <pc:docMk/>
            <pc:sldMk cId="3131901387" sldId="256"/>
            <ac:spMk id="2" creationId="{5261080C-C60C-4746-B6B1-A9A4FFA86785}"/>
          </ac:spMkLst>
        </pc:spChg>
      </pc:sldChg>
      <pc:sldChg chg="delSp modSp mod">
        <pc:chgData name="Aurelien Domont" userId="6da7715ce44349b3" providerId="LiveId" clId="{365A8E39-D1EE-4FEE-9D5E-3CC57D750A89}" dt="2021-09-22T00:23:56.686" v="366" actId="478"/>
        <pc:sldMkLst>
          <pc:docMk/>
          <pc:sldMk cId="1447772011" sldId="1236"/>
        </pc:sldMkLst>
        <pc:spChg chg="mod">
          <ac:chgData name="Aurelien Domont" userId="6da7715ce44349b3" providerId="LiveId" clId="{365A8E39-D1EE-4FEE-9D5E-3CC57D750A89}" dt="2021-09-22T00:17:32.767" v="144" actId="20577"/>
          <ac:spMkLst>
            <pc:docMk/>
            <pc:sldMk cId="1447772011" sldId="1236"/>
            <ac:spMk id="9" creationId="{B769D6F6-AFD9-4EA9-B80A-33F28CA11BE0}"/>
          </ac:spMkLst>
        </pc:spChg>
        <pc:spChg chg="mod">
          <ac:chgData name="Aurelien Domont" userId="6da7715ce44349b3" providerId="LiveId" clId="{365A8E39-D1EE-4FEE-9D5E-3CC57D750A89}" dt="2021-09-22T00:17:36.086" v="145"/>
          <ac:spMkLst>
            <pc:docMk/>
            <pc:sldMk cId="1447772011" sldId="1236"/>
            <ac:spMk id="10" creationId="{5B7FFB86-AF8B-42F2-8248-7F825E9729B5}"/>
          </ac:spMkLst>
        </pc:spChg>
        <pc:spChg chg="mod">
          <ac:chgData name="Aurelien Domont" userId="6da7715ce44349b3" providerId="LiveId" clId="{365A8E39-D1EE-4FEE-9D5E-3CC57D750A89}" dt="2021-09-22T00:17:37.388" v="146"/>
          <ac:spMkLst>
            <pc:docMk/>
            <pc:sldMk cId="1447772011" sldId="1236"/>
            <ac:spMk id="11" creationId="{9BCB142E-72D8-4305-9096-885998A95FB3}"/>
          </ac:spMkLst>
        </pc:spChg>
        <pc:spChg chg="mod">
          <ac:chgData name="Aurelien Domont" userId="6da7715ce44349b3" providerId="LiveId" clId="{365A8E39-D1EE-4FEE-9D5E-3CC57D750A89}" dt="2021-09-22T00:17:38.605" v="147"/>
          <ac:spMkLst>
            <pc:docMk/>
            <pc:sldMk cId="1447772011" sldId="1236"/>
            <ac:spMk id="12" creationId="{9A65ADC9-0635-434B-9829-EA26E50BCCAC}"/>
          </ac:spMkLst>
        </pc:spChg>
        <pc:spChg chg="mod">
          <ac:chgData name="Aurelien Domont" userId="6da7715ce44349b3" providerId="LiveId" clId="{365A8E39-D1EE-4FEE-9D5E-3CC57D750A89}" dt="2021-09-22T00:17:40.001" v="148"/>
          <ac:spMkLst>
            <pc:docMk/>
            <pc:sldMk cId="1447772011" sldId="1236"/>
            <ac:spMk id="14" creationId="{01AF693B-D65B-427E-AB73-775C9CA6F9F8}"/>
          </ac:spMkLst>
        </pc:spChg>
        <pc:spChg chg="del mod">
          <ac:chgData name="Aurelien Domont" userId="6da7715ce44349b3" providerId="LiveId" clId="{365A8E39-D1EE-4FEE-9D5E-3CC57D750A89}" dt="2021-09-22T00:23:56.686" v="366" actId="478"/>
          <ac:spMkLst>
            <pc:docMk/>
            <pc:sldMk cId="1447772011" sldId="1236"/>
            <ac:spMk id="15" creationId="{2D08AC70-7C38-4A52-8BBA-ABC21952964B}"/>
          </ac:spMkLst>
        </pc:spChg>
        <pc:spChg chg="mod">
          <ac:chgData name="Aurelien Domont" userId="6da7715ce44349b3" providerId="LiveId" clId="{365A8E39-D1EE-4FEE-9D5E-3CC57D750A89}" dt="2021-09-22T00:21:20.294" v="245" actId="20577"/>
          <ac:spMkLst>
            <pc:docMk/>
            <pc:sldMk cId="1447772011" sldId="1236"/>
            <ac:spMk id="16" creationId="{6C2BB713-9637-4B9B-938F-E9768876782A}"/>
          </ac:spMkLst>
        </pc:spChg>
      </pc:sldChg>
      <pc:sldChg chg="add del">
        <pc:chgData name="Aurelien Domont" userId="6da7715ce44349b3" providerId="LiveId" clId="{365A8E39-D1EE-4FEE-9D5E-3CC57D750A89}" dt="2021-09-22T00:02:47.632" v="104" actId="47"/>
        <pc:sldMkLst>
          <pc:docMk/>
          <pc:sldMk cId="388158782" sldId="1514"/>
        </pc:sldMkLst>
      </pc:sldChg>
      <pc:sldChg chg="del">
        <pc:chgData name="Aurelien Domont" userId="6da7715ce44349b3" providerId="LiveId" clId="{365A8E39-D1EE-4FEE-9D5E-3CC57D750A89}" dt="2021-09-22T00:29:46.170" v="463" actId="47"/>
        <pc:sldMkLst>
          <pc:docMk/>
          <pc:sldMk cId="2357951321" sldId="1519"/>
        </pc:sldMkLst>
      </pc:sldChg>
      <pc:sldChg chg="addSp modSp mod ord">
        <pc:chgData name="Aurelien Domont" userId="6da7715ce44349b3" providerId="LiveId" clId="{365A8E39-D1EE-4FEE-9D5E-3CC57D750A89}" dt="2021-09-22T00:23:40.045" v="365" actId="20577"/>
        <pc:sldMkLst>
          <pc:docMk/>
          <pc:sldMk cId="112122695" sldId="1521"/>
        </pc:sldMkLst>
        <pc:spChg chg="add mod">
          <ac:chgData name="Aurelien Domont" userId="6da7715ce44349b3" providerId="LiveId" clId="{365A8E39-D1EE-4FEE-9D5E-3CC57D750A89}" dt="2021-09-22T00:22:09.112" v="338" actId="20577"/>
          <ac:spMkLst>
            <pc:docMk/>
            <pc:sldMk cId="112122695" sldId="1521"/>
            <ac:spMk id="9" creationId="{82B3D055-7B95-41B2-9B4B-EDD5F3212EC0}"/>
          </ac:spMkLst>
        </pc:spChg>
        <pc:spChg chg="mod">
          <ac:chgData name="Aurelien Domont" userId="6da7715ce44349b3" providerId="LiveId" clId="{365A8E39-D1EE-4FEE-9D5E-3CC57D750A89}" dt="2021-09-22T00:23:40.045" v="365" actId="20577"/>
          <ac:spMkLst>
            <pc:docMk/>
            <pc:sldMk cId="112122695" sldId="1521"/>
            <ac:spMk id="16" creationId="{6C2BB713-9637-4B9B-938F-E9768876782A}"/>
          </ac:spMkLst>
        </pc:spChg>
        <pc:spChg chg="mod">
          <ac:chgData name="Aurelien Domont" userId="6da7715ce44349b3" providerId="LiveId" clId="{365A8E39-D1EE-4FEE-9D5E-3CC57D750A89}" dt="2021-09-22T00:13:45.671" v="132" actId="14100"/>
          <ac:spMkLst>
            <pc:docMk/>
            <pc:sldMk cId="112122695" sldId="1521"/>
            <ac:spMk id="18" creationId="{6690B5F9-90B9-4DDB-8F95-51D207BE3335}"/>
          </ac:spMkLst>
        </pc:spChg>
        <pc:spChg chg="mod">
          <ac:chgData name="Aurelien Domont" userId="6da7715ce44349b3" providerId="LiveId" clId="{365A8E39-D1EE-4FEE-9D5E-3CC57D750A89}" dt="2021-09-22T00:13:45.671" v="132" actId="14100"/>
          <ac:spMkLst>
            <pc:docMk/>
            <pc:sldMk cId="112122695" sldId="1521"/>
            <ac:spMk id="22" creationId="{CC39D5EE-40EF-4CFB-9505-D1EFF3AF3535}"/>
          </ac:spMkLst>
        </pc:spChg>
      </pc:sldChg>
      <pc:sldChg chg="del">
        <pc:chgData name="Aurelien Domont" userId="6da7715ce44349b3" providerId="LiveId" clId="{365A8E39-D1EE-4FEE-9D5E-3CC57D750A89}" dt="2021-09-22T00:24:56.167" v="389" actId="47"/>
        <pc:sldMkLst>
          <pc:docMk/>
          <pc:sldMk cId="204042741" sldId="1522"/>
        </pc:sldMkLst>
      </pc:sldChg>
      <pc:sldChg chg="del">
        <pc:chgData name="Aurelien Domont" userId="6da7715ce44349b3" providerId="LiveId" clId="{365A8E39-D1EE-4FEE-9D5E-3CC57D750A89}" dt="2021-09-22T00:24:56.167" v="389" actId="47"/>
        <pc:sldMkLst>
          <pc:docMk/>
          <pc:sldMk cId="3770712690" sldId="1523"/>
        </pc:sldMkLst>
      </pc:sldChg>
      <pc:sldChg chg="del">
        <pc:chgData name="Aurelien Domont" userId="6da7715ce44349b3" providerId="LiveId" clId="{365A8E39-D1EE-4FEE-9D5E-3CC57D750A89}" dt="2021-09-22T00:24:56.167" v="389" actId="47"/>
        <pc:sldMkLst>
          <pc:docMk/>
          <pc:sldMk cId="3952879389" sldId="1524"/>
        </pc:sldMkLst>
      </pc:sldChg>
      <pc:sldChg chg="del">
        <pc:chgData name="Aurelien Domont" userId="6da7715ce44349b3" providerId="LiveId" clId="{365A8E39-D1EE-4FEE-9D5E-3CC57D750A89}" dt="2021-09-22T00:25:52.683" v="393" actId="47"/>
        <pc:sldMkLst>
          <pc:docMk/>
          <pc:sldMk cId="1466047855" sldId="1525"/>
        </pc:sldMkLst>
      </pc:sldChg>
      <pc:sldChg chg="del">
        <pc:chgData name="Aurelien Domont" userId="6da7715ce44349b3" providerId="LiveId" clId="{365A8E39-D1EE-4FEE-9D5E-3CC57D750A89}" dt="2021-09-22T00:59:30.234" v="467" actId="47"/>
        <pc:sldMkLst>
          <pc:docMk/>
          <pc:sldMk cId="3014473461" sldId="1527"/>
        </pc:sldMkLst>
      </pc:sldChg>
      <pc:sldChg chg="modSp del mod">
        <pc:chgData name="Aurelien Domont" userId="6da7715ce44349b3" providerId="LiveId" clId="{365A8E39-D1EE-4FEE-9D5E-3CC57D750A89}" dt="2021-09-22T00:59:30.234" v="467" actId="47"/>
        <pc:sldMkLst>
          <pc:docMk/>
          <pc:sldMk cId="2721843527" sldId="1528"/>
        </pc:sldMkLst>
        <pc:spChg chg="mod">
          <ac:chgData name="Aurelien Domont" userId="6da7715ce44349b3" providerId="LiveId" clId="{365A8E39-D1EE-4FEE-9D5E-3CC57D750A89}" dt="2021-09-22T00:26:07.321" v="395" actId="33524"/>
          <ac:spMkLst>
            <pc:docMk/>
            <pc:sldMk cId="2721843527" sldId="1528"/>
            <ac:spMk id="16" creationId="{6C2BB713-9637-4B9B-938F-E9768876782A}"/>
          </ac:spMkLst>
        </pc:spChg>
      </pc:sldChg>
      <pc:sldChg chg="del">
        <pc:chgData name="Aurelien Domont" userId="6da7715ce44349b3" providerId="LiveId" clId="{365A8E39-D1EE-4FEE-9D5E-3CC57D750A89}" dt="2021-09-22T00:59:30.234" v="467" actId="47"/>
        <pc:sldMkLst>
          <pc:docMk/>
          <pc:sldMk cId="265478975" sldId="1529"/>
        </pc:sldMkLst>
      </pc:sldChg>
      <pc:sldChg chg="del">
        <pc:chgData name="Aurelien Domont" userId="6da7715ce44349b3" providerId="LiveId" clId="{365A8E39-D1EE-4FEE-9D5E-3CC57D750A89}" dt="2021-09-22T00:59:30.234" v="467" actId="47"/>
        <pc:sldMkLst>
          <pc:docMk/>
          <pc:sldMk cId="4130717619" sldId="1530"/>
        </pc:sldMkLst>
      </pc:sldChg>
      <pc:sldChg chg="del">
        <pc:chgData name="Aurelien Domont" userId="6da7715ce44349b3" providerId="LiveId" clId="{365A8E39-D1EE-4FEE-9D5E-3CC57D750A89}" dt="2021-09-22T00:59:30.234" v="467" actId="47"/>
        <pc:sldMkLst>
          <pc:docMk/>
          <pc:sldMk cId="2993258290" sldId="1531"/>
        </pc:sldMkLst>
      </pc:sldChg>
      <pc:sldChg chg="del">
        <pc:chgData name="Aurelien Domont" userId="6da7715ce44349b3" providerId="LiveId" clId="{365A8E39-D1EE-4FEE-9D5E-3CC57D750A89}" dt="2021-09-22T00:59:30.234" v="467" actId="47"/>
        <pc:sldMkLst>
          <pc:docMk/>
          <pc:sldMk cId="3685180437" sldId="1532"/>
        </pc:sldMkLst>
      </pc:sldChg>
      <pc:sldChg chg="del">
        <pc:chgData name="Aurelien Domont" userId="6da7715ce44349b3" providerId="LiveId" clId="{365A8E39-D1EE-4FEE-9D5E-3CC57D750A89}" dt="2021-09-22T00:59:30.234" v="467" actId="47"/>
        <pc:sldMkLst>
          <pc:docMk/>
          <pc:sldMk cId="1793073278" sldId="1533"/>
        </pc:sldMkLst>
      </pc:sldChg>
      <pc:sldChg chg="del">
        <pc:chgData name="Aurelien Domont" userId="6da7715ce44349b3" providerId="LiveId" clId="{365A8E39-D1EE-4FEE-9D5E-3CC57D750A89}" dt="2021-09-22T00:59:30.234" v="467" actId="47"/>
        <pc:sldMkLst>
          <pc:docMk/>
          <pc:sldMk cId="2590906409" sldId="1534"/>
        </pc:sldMkLst>
      </pc:sldChg>
      <pc:sldChg chg="del">
        <pc:chgData name="Aurelien Domont" userId="6da7715ce44349b3" providerId="LiveId" clId="{365A8E39-D1EE-4FEE-9D5E-3CC57D750A89}" dt="2021-09-22T00:59:30.234" v="467" actId="47"/>
        <pc:sldMkLst>
          <pc:docMk/>
          <pc:sldMk cId="2544789235" sldId="1535"/>
        </pc:sldMkLst>
      </pc:sldChg>
      <pc:sldChg chg="del">
        <pc:chgData name="Aurelien Domont" userId="6da7715ce44349b3" providerId="LiveId" clId="{365A8E39-D1EE-4FEE-9D5E-3CC57D750A89}" dt="2021-09-22T00:59:30.234" v="467" actId="47"/>
        <pc:sldMkLst>
          <pc:docMk/>
          <pc:sldMk cId="2575741903" sldId="1536"/>
        </pc:sldMkLst>
      </pc:sldChg>
      <pc:sldChg chg="modSp add mod">
        <pc:chgData name="Aurelien Domont" userId="6da7715ce44349b3" providerId="LiveId" clId="{365A8E39-D1EE-4FEE-9D5E-3CC57D750A89}" dt="2021-09-22T02:08:43.437" v="2871" actId="20577"/>
        <pc:sldMkLst>
          <pc:docMk/>
          <pc:sldMk cId="711141970" sldId="1541"/>
        </pc:sldMkLst>
        <pc:spChg chg="mod">
          <ac:chgData name="Aurelien Domont" userId="6da7715ce44349b3" providerId="LiveId" clId="{365A8E39-D1EE-4FEE-9D5E-3CC57D750A89}" dt="2021-09-22T01:33:16.866" v="1974" actId="20577"/>
          <ac:spMkLst>
            <pc:docMk/>
            <pc:sldMk cId="711141970" sldId="1541"/>
            <ac:spMk id="2" creationId="{406113FD-AA7D-4249-90D7-70AF85BE48E1}"/>
          </ac:spMkLst>
        </pc:spChg>
        <pc:spChg chg="mod">
          <ac:chgData name="Aurelien Domont" userId="6da7715ce44349b3" providerId="LiveId" clId="{365A8E39-D1EE-4FEE-9D5E-3CC57D750A89}" dt="2021-09-22T02:04:42.241" v="2483" actId="6549"/>
          <ac:spMkLst>
            <pc:docMk/>
            <pc:sldMk cId="711141970" sldId="1541"/>
            <ac:spMk id="13" creationId="{78C95A21-045C-4AA0-9C8A-794083A2EEAB}"/>
          </ac:spMkLst>
        </pc:spChg>
        <pc:spChg chg="mod">
          <ac:chgData name="Aurelien Domont" userId="6da7715ce44349b3" providerId="LiveId" clId="{365A8E39-D1EE-4FEE-9D5E-3CC57D750A89}" dt="2021-09-22T01:35:27.465" v="2143"/>
          <ac:spMkLst>
            <pc:docMk/>
            <pc:sldMk cId="711141970" sldId="1541"/>
            <ac:spMk id="14" creationId="{7386C276-3C29-4D9E-9AD6-05ABDC9949D1}"/>
          </ac:spMkLst>
        </pc:spChg>
        <pc:spChg chg="mod">
          <ac:chgData name="Aurelien Domont" userId="6da7715ce44349b3" providerId="LiveId" clId="{365A8E39-D1EE-4FEE-9D5E-3CC57D750A89}" dt="2021-09-22T01:35:28.827" v="2144"/>
          <ac:spMkLst>
            <pc:docMk/>
            <pc:sldMk cId="711141970" sldId="1541"/>
            <ac:spMk id="15" creationId="{D5B696F4-FF23-4452-862B-205FFCFFC25F}"/>
          </ac:spMkLst>
        </pc:spChg>
        <pc:spChg chg="mod">
          <ac:chgData name="Aurelien Domont" userId="6da7715ce44349b3" providerId="LiveId" clId="{365A8E39-D1EE-4FEE-9D5E-3CC57D750A89}" dt="2021-09-22T02:08:43.437" v="2871" actId="20577"/>
          <ac:spMkLst>
            <pc:docMk/>
            <pc:sldMk cId="711141970" sldId="1541"/>
            <ac:spMk id="16" creationId="{B00AC8FA-076B-42CE-B5CE-C62153FE645C}"/>
          </ac:spMkLst>
        </pc:spChg>
        <pc:spChg chg="mod">
          <ac:chgData name="Aurelien Domont" userId="6da7715ce44349b3" providerId="LiveId" clId="{365A8E39-D1EE-4FEE-9D5E-3CC57D750A89}" dt="2021-09-22T01:34:14.825" v="2131"/>
          <ac:spMkLst>
            <pc:docMk/>
            <pc:sldMk cId="711141970" sldId="1541"/>
            <ac:spMk id="17" creationId="{AC37EC0F-F3BA-4B5B-8A98-4EF03B48ACEF}"/>
          </ac:spMkLst>
        </pc:spChg>
        <pc:spChg chg="mod">
          <ac:chgData name="Aurelien Domont" userId="6da7715ce44349b3" providerId="LiveId" clId="{365A8E39-D1EE-4FEE-9D5E-3CC57D750A89}" dt="2021-09-22T01:34:16.406" v="2132"/>
          <ac:spMkLst>
            <pc:docMk/>
            <pc:sldMk cId="711141970" sldId="1541"/>
            <ac:spMk id="18" creationId="{8D86D59D-2B25-4AB3-84E9-FDAB79AEF60E}"/>
          </ac:spMkLst>
        </pc:spChg>
      </pc:sldChg>
      <pc:sldChg chg="modSp add mod">
        <pc:chgData name="Aurelien Domont" userId="6da7715ce44349b3" providerId="LiveId" clId="{365A8E39-D1EE-4FEE-9D5E-3CC57D750A89}" dt="2021-09-22T01:43:42.990" v="2269" actId="20577"/>
        <pc:sldMkLst>
          <pc:docMk/>
          <pc:sldMk cId="2986124175" sldId="1542"/>
        </pc:sldMkLst>
        <pc:spChg chg="mod">
          <ac:chgData name="Aurelien Domont" userId="6da7715ce44349b3" providerId="LiveId" clId="{365A8E39-D1EE-4FEE-9D5E-3CC57D750A89}" dt="2021-09-22T01:43:42.990" v="2269" actId="20577"/>
          <ac:spMkLst>
            <pc:docMk/>
            <pc:sldMk cId="2986124175" sldId="1542"/>
            <ac:spMk id="2" creationId="{406113FD-AA7D-4249-90D7-70AF85BE48E1}"/>
          </ac:spMkLst>
        </pc:spChg>
        <pc:spChg chg="mod">
          <ac:chgData name="Aurelien Domont" userId="6da7715ce44349b3" providerId="LiveId" clId="{365A8E39-D1EE-4FEE-9D5E-3CC57D750A89}" dt="2021-09-22T01:37:19.345" v="2157" actId="6549"/>
          <ac:spMkLst>
            <pc:docMk/>
            <pc:sldMk cId="2986124175" sldId="1542"/>
            <ac:spMk id="12" creationId="{4E0291DB-1B63-44C7-8388-A883F9AA6938}"/>
          </ac:spMkLst>
        </pc:spChg>
        <pc:spChg chg="mod">
          <ac:chgData name="Aurelien Domont" userId="6da7715ce44349b3" providerId="LiveId" clId="{365A8E39-D1EE-4FEE-9D5E-3CC57D750A89}" dt="2021-09-22T01:35:09.968" v="2138" actId="20577"/>
          <ac:spMkLst>
            <pc:docMk/>
            <pc:sldMk cId="2986124175" sldId="1542"/>
            <ac:spMk id="19" creationId="{5E060E8E-9025-4514-BFA3-3DD22A5996DB}"/>
          </ac:spMkLst>
        </pc:spChg>
        <pc:spChg chg="mod">
          <ac:chgData name="Aurelien Domont" userId="6da7715ce44349b3" providerId="LiveId" clId="{365A8E39-D1EE-4FEE-9D5E-3CC57D750A89}" dt="2021-09-22T01:37:48.167" v="2179" actId="20577"/>
          <ac:spMkLst>
            <pc:docMk/>
            <pc:sldMk cId="2986124175" sldId="1542"/>
            <ac:spMk id="21" creationId="{C815BF1C-D874-4406-A410-6CBB1FA6E86E}"/>
          </ac:spMkLst>
        </pc:spChg>
        <pc:spChg chg="mod">
          <ac:chgData name="Aurelien Domont" userId="6da7715ce44349b3" providerId="LiveId" clId="{365A8E39-D1EE-4FEE-9D5E-3CC57D750A89}" dt="2021-09-22T01:38:21.288" v="2194" actId="20577"/>
          <ac:spMkLst>
            <pc:docMk/>
            <pc:sldMk cId="2986124175" sldId="1542"/>
            <ac:spMk id="23" creationId="{593FA7AE-B469-4F66-A695-4184FADE1DFD}"/>
          </ac:spMkLst>
        </pc:spChg>
        <pc:spChg chg="mod">
          <ac:chgData name="Aurelien Domont" userId="6da7715ce44349b3" providerId="LiveId" clId="{365A8E39-D1EE-4FEE-9D5E-3CC57D750A89}" dt="2021-09-22T01:35:35.293" v="2146" actId="20577"/>
          <ac:spMkLst>
            <pc:docMk/>
            <pc:sldMk cId="2986124175" sldId="1542"/>
            <ac:spMk id="24" creationId="{FC8E095A-5BFA-4799-98E8-A319AC0A8614}"/>
          </ac:spMkLst>
        </pc:spChg>
        <pc:spChg chg="mod">
          <ac:chgData name="Aurelien Domont" userId="6da7715ce44349b3" providerId="LiveId" clId="{365A8E39-D1EE-4FEE-9D5E-3CC57D750A89}" dt="2021-09-22T01:35:36.330" v="2147" actId="20577"/>
          <ac:spMkLst>
            <pc:docMk/>
            <pc:sldMk cId="2986124175" sldId="1542"/>
            <ac:spMk id="27" creationId="{92724919-A5D3-4593-9603-8CE94234A31C}"/>
          </ac:spMkLst>
        </pc:spChg>
      </pc:sldChg>
      <pc:sldChg chg="addSp delSp modSp add mod">
        <pc:chgData name="Aurelien Domont" userId="6da7715ce44349b3" providerId="LiveId" clId="{365A8E39-D1EE-4FEE-9D5E-3CC57D750A89}" dt="2021-09-22T06:15:27.965" v="4102"/>
        <pc:sldMkLst>
          <pc:docMk/>
          <pc:sldMk cId="3717827458" sldId="1557"/>
        </pc:sldMkLst>
        <pc:spChg chg="del">
          <ac:chgData name="Aurelien Domont" userId="6da7715ce44349b3" providerId="LiveId" clId="{365A8E39-D1EE-4FEE-9D5E-3CC57D750A89}" dt="2021-09-22T06:15:27.853" v="4101" actId="478"/>
          <ac:spMkLst>
            <pc:docMk/>
            <pc:sldMk cId="3717827458" sldId="1557"/>
            <ac:spMk id="17" creationId="{773815F0-B2A4-47F3-ACF3-826B938F8E42}"/>
          </ac:spMkLst>
        </pc:spChg>
        <pc:spChg chg="add mod">
          <ac:chgData name="Aurelien Domont" userId="6da7715ce44349b3" providerId="LiveId" clId="{365A8E39-D1EE-4FEE-9D5E-3CC57D750A89}" dt="2021-09-22T06:15:27.965" v="4102"/>
          <ac:spMkLst>
            <pc:docMk/>
            <pc:sldMk cId="3717827458" sldId="1557"/>
            <ac:spMk id="18" creationId="{E1BF0CF4-07B1-4D70-A6CA-29AEE3541297}"/>
          </ac:spMkLst>
        </pc:spChg>
      </pc:sldChg>
      <pc:sldChg chg="addSp delSp modSp add mod">
        <pc:chgData name="Aurelien Domont" userId="6da7715ce44349b3" providerId="LiveId" clId="{365A8E39-D1EE-4FEE-9D5E-3CC57D750A89}" dt="2021-09-22T06:15:40.371" v="4106" actId="404"/>
        <pc:sldMkLst>
          <pc:docMk/>
          <pc:sldMk cId="2317062444" sldId="1562"/>
        </pc:sldMkLst>
        <pc:spChg chg="mod">
          <ac:chgData name="Aurelien Domont" userId="6da7715ce44349b3" providerId="LiveId" clId="{365A8E39-D1EE-4FEE-9D5E-3CC57D750A89}" dt="2021-09-22T06:15:40.371" v="4106" actId="404"/>
          <ac:spMkLst>
            <pc:docMk/>
            <pc:sldMk cId="2317062444" sldId="1562"/>
            <ac:spMk id="23" creationId="{6BE5583E-F71E-46FA-ABDD-011B2155EA4F}"/>
          </ac:spMkLst>
        </pc:spChg>
        <pc:spChg chg="mod">
          <ac:chgData name="Aurelien Domont" userId="6da7715ce44349b3" providerId="LiveId" clId="{365A8E39-D1EE-4FEE-9D5E-3CC57D750A89}" dt="2021-09-22T06:15:40.371" v="4106" actId="404"/>
          <ac:spMkLst>
            <pc:docMk/>
            <pc:sldMk cId="2317062444" sldId="1562"/>
            <ac:spMk id="24" creationId="{85C86483-3B1E-4526-B27F-197EB10A3111}"/>
          </ac:spMkLst>
        </pc:spChg>
        <pc:spChg chg="mod">
          <ac:chgData name="Aurelien Domont" userId="6da7715ce44349b3" providerId="LiveId" clId="{365A8E39-D1EE-4FEE-9D5E-3CC57D750A89}" dt="2021-09-22T06:15:40.371" v="4106" actId="404"/>
          <ac:spMkLst>
            <pc:docMk/>
            <pc:sldMk cId="2317062444" sldId="1562"/>
            <ac:spMk id="25" creationId="{C79F80EC-B958-4F98-B0D2-8508EC4DFC70}"/>
          </ac:spMkLst>
        </pc:spChg>
        <pc:spChg chg="mod">
          <ac:chgData name="Aurelien Domont" userId="6da7715ce44349b3" providerId="LiveId" clId="{365A8E39-D1EE-4FEE-9D5E-3CC57D750A89}" dt="2021-09-22T06:15:40.371" v="4106" actId="404"/>
          <ac:spMkLst>
            <pc:docMk/>
            <pc:sldMk cId="2317062444" sldId="1562"/>
            <ac:spMk id="26" creationId="{E6F1EBBF-9CF6-4B8E-9D5B-3A15D11D4CA3}"/>
          </ac:spMkLst>
        </pc:spChg>
        <pc:spChg chg="mod">
          <ac:chgData name="Aurelien Domont" userId="6da7715ce44349b3" providerId="LiveId" clId="{365A8E39-D1EE-4FEE-9D5E-3CC57D750A89}" dt="2021-09-22T06:15:40.371" v="4106" actId="404"/>
          <ac:spMkLst>
            <pc:docMk/>
            <pc:sldMk cId="2317062444" sldId="1562"/>
            <ac:spMk id="27" creationId="{04F93201-DEF5-41DA-B18E-9F910190D709}"/>
          </ac:spMkLst>
        </pc:spChg>
        <pc:spChg chg="mod">
          <ac:chgData name="Aurelien Domont" userId="6da7715ce44349b3" providerId="LiveId" clId="{365A8E39-D1EE-4FEE-9D5E-3CC57D750A89}" dt="2021-09-22T06:15:40.371" v="4106" actId="404"/>
          <ac:spMkLst>
            <pc:docMk/>
            <pc:sldMk cId="2317062444" sldId="1562"/>
            <ac:spMk id="28" creationId="{7DA327B2-8E42-474E-AF05-7FE46459CF87}"/>
          </ac:spMkLst>
        </pc:spChg>
        <pc:spChg chg="mod">
          <ac:chgData name="Aurelien Domont" userId="6da7715ce44349b3" providerId="LiveId" clId="{365A8E39-D1EE-4FEE-9D5E-3CC57D750A89}" dt="2021-09-22T06:15:40.371" v="4106" actId="404"/>
          <ac:spMkLst>
            <pc:docMk/>
            <pc:sldMk cId="2317062444" sldId="1562"/>
            <ac:spMk id="29" creationId="{2A4D7178-0629-4570-8F2A-7B5C10DD98F8}"/>
          </ac:spMkLst>
        </pc:spChg>
        <pc:spChg chg="mod">
          <ac:chgData name="Aurelien Domont" userId="6da7715ce44349b3" providerId="LiveId" clId="{365A8E39-D1EE-4FEE-9D5E-3CC57D750A89}" dt="2021-09-22T06:15:40.371" v="4106" actId="404"/>
          <ac:spMkLst>
            <pc:docMk/>
            <pc:sldMk cId="2317062444" sldId="1562"/>
            <ac:spMk id="30" creationId="{EBF66EBA-C8AC-48AB-83F1-8E2F98829677}"/>
          </ac:spMkLst>
        </pc:spChg>
        <pc:spChg chg="mod">
          <ac:chgData name="Aurelien Domont" userId="6da7715ce44349b3" providerId="LiveId" clId="{365A8E39-D1EE-4FEE-9D5E-3CC57D750A89}" dt="2021-09-22T06:15:40.371" v="4106" actId="404"/>
          <ac:spMkLst>
            <pc:docMk/>
            <pc:sldMk cId="2317062444" sldId="1562"/>
            <ac:spMk id="31" creationId="{E020AD10-9728-48CD-A81E-9469D91BB815}"/>
          </ac:spMkLst>
        </pc:spChg>
        <pc:spChg chg="mod">
          <ac:chgData name="Aurelien Domont" userId="6da7715ce44349b3" providerId="LiveId" clId="{365A8E39-D1EE-4FEE-9D5E-3CC57D750A89}" dt="2021-09-22T06:15:40.371" v="4106" actId="404"/>
          <ac:spMkLst>
            <pc:docMk/>
            <pc:sldMk cId="2317062444" sldId="1562"/>
            <ac:spMk id="34" creationId="{4980ABC7-22FD-4F26-AA7E-B9185D432D2A}"/>
          </ac:spMkLst>
        </pc:spChg>
        <pc:spChg chg="mod">
          <ac:chgData name="Aurelien Domont" userId="6da7715ce44349b3" providerId="LiveId" clId="{365A8E39-D1EE-4FEE-9D5E-3CC57D750A89}" dt="2021-09-22T06:15:40.371" v="4106" actId="404"/>
          <ac:spMkLst>
            <pc:docMk/>
            <pc:sldMk cId="2317062444" sldId="1562"/>
            <ac:spMk id="35" creationId="{826157B1-B688-451D-B9C7-EE71F434B633}"/>
          </ac:spMkLst>
        </pc:spChg>
        <pc:spChg chg="mod">
          <ac:chgData name="Aurelien Domont" userId="6da7715ce44349b3" providerId="LiveId" clId="{365A8E39-D1EE-4FEE-9D5E-3CC57D750A89}" dt="2021-09-22T06:15:40.371" v="4106" actId="404"/>
          <ac:spMkLst>
            <pc:docMk/>
            <pc:sldMk cId="2317062444" sldId="1562"/>
            <ac:spMk id="38" creationId="{576509D1-7B05-46C7-B1D9-B71F038011BA}"/>
          </ac:spMkLst>
        </pc:spChg>
        <pc:spChg chg="mod">
          <ac:chgData name="Aurelien Domont" userId="6da7715ce44349b3" providerId="LiveId" clId="{365A8E39-D1EE-4FEE-9D5E-3CC57D750A89}" dt="2021-09-22T06:15:40.371" v="4106" actId="404"/>
          <ac:spMkLst>
            <pc:docMk/>
            <pc:sldMk cId="2317062444" sldId="1562"/>
            <ac:spMk id="40" creationId="{4A566E1C-ED57-4362-A4C2-B6238C74D328}"/>
          </ac:spMkLst>
        </pc:spChg>
        <pc:spChg chg="mod">
          <ac:chgData name="Aurelien Domont" userId="6da7715ce44349b3" providerId="LiveId" clId="{365A8E39-D1EE-4FEE-9D5E-3CC57D750A89}" dt="2021-09-22T06:15:40.371" v="4106" actId="404"/>
          <ac:spMkLst>
            <pc:docMk/>
            <pc:sldMk cId="2317062444" sldId="1562"/>
            <ac:spMk id="41" creationId="{82341D3F-F809-4412-973D-556BEB20BA11}"/>
          </ac:spMkLst>
        </pc:spChg>
        <pc:spChg chg="mod">
          <ac:chgData name="Aurelien Domont" userId="6da7715ce44349b3" providerId="LiveId" clId="{365A8E39-D1EE-4FEE-9D5E-3CC57D750A89}" dt="2021-09-22T06:15:40.371" v="4106" actId="404"/>
          <ac:spMkLst>
            <pc:docMk/>
            <pc:sldMk cId="2317062444" sldId="1562"/>
            <ac:spMk id="47" creationId="{FBE1A1A4-1756-4BDF-B864-7F9CE3B89498}"/>
          </ac:spMkLst>
        </pc:spChg>
        <pc:spChg chg="mod">
          <ac:chgData name="Aurelien Domont" userId="6da7715ce44349b3" providerId="LiveId" clId="{365A8E39-D1EE-4FEE-9D5E-3CC57D750A89}" dt="2021-09-22T06:15:40.371" v="4106" actId="404"/>
          <ac:spMkLst>
            <pc:docMk/>
            <pc:sldMk cId="2317062444" sldId="1562"/>
            <ac:spMk id="48" creationId="{004187E3-DF18-466A-89C1-67196579FDA0}"/>
          </ac:spMkLst>
        </pc:spChg>
        <pc:spChg chg="mod">
          <ac:chgData name="Aurelien Domont" userId="6da7715ce44349b3" providerId="LiveId" clId="{365A8E39-D1EE-4FEE-9D5E-3CC57D750A89}" dt="2021-09-22T06:15:40.371" v="4106" actId="404"/>
          <ac:spMkLst>
            <pc:docMk/>
            <pc:sldMk cId="2317062444" sldId="1562"/>
            <ac:spMk id="49" creationId="{FF9CA54C-F595-416A-AB7C-3AE6EB0F08FA}"/>
          </ac:spMkLst>
        </pc:spChg>
        <pc:spChg chg="mod">
          <ac:chgData name="Aurelien Domont" userId="6da7715ce44349b3" providerId="LiveId" clId="{365A8E39-D1EE-4FEE-9D5E-3CC57D750A89}" dt="2021-09-22T06:15:40.371" v="4106" actId="404"/>
          <ac:spMkLst>
            <pc:docMk/>
            <pc:sldMk cId="2317062444" sldId="1562"/>
            <ac:spMk id="52" creationId="{83CFA65B-1E7F-473E-BA27-D30F20DC372F}"/>
          </ac:spMkLst>
        </pc:spChg>
        <pc:spChg chg="mod">
          <ac:chgData name="Aurelien Domont" userId="6da7715ce44349b3" providerId="LiveId" clId="{365A8E39-D1EE-4FEE-9D5E-3CC57D750A89}" dt="2021-09-22T06:15:40.371" v="4106" actId="404"/>
          <ac:spMkLst>
            <pc:docMk/>
            <pc:sldMk cId="2317062444" sldId="1562"/>
            <ac:spMk id="53" creationId="{6CA2E350-D689-4994-BC45-86F31CF31B91}"/>
          </ac:spMkLst>
        </pc:spChg>
        <pc:spChg chg="del">
          <ac:chgData name="Aurelien Domont" userId="6da7715ce44349b3" providerId="LiveId" clId="{365A8E39-D1EE-4FEE-9D5E-3CC57D750A89}" dt="2021-09-22T06:15:31.250" v="4103" actId="478"/>
          <ac:spMkLst>
            <pc:docMk/>
            <pc:sldMk cId="2317062444" sldId="1562"/>
            <ac:spMk id="54" creationId="{89BC4829-15E0-487D-9A1F-2EA78A0C269B}"/>
          </ac:spMkLst>
        </pc:spChg>
        <pc:spChg chg="mod">
          <ac:chgData name="Aurelien Domont" userId="6da7715ce44349b3" providerId="LiveId" clId="{365A8E39-D1EE-4FEE-9D5E-3CC57D750A89}" dt="2021-09-22T06:15:40.371" v="4106" actId="404"/>
          <ac:spMkLst>
            <pc:docMk/>
            <pc:sldMk cId="2317062444" sldId="1562"/>
            <ac:spMk id="55" creationId="{5A8AB37B-A74A-4F0A-805C-85949C83EDD8}"/>
          </ac:spMkLst>
        </pc:spChg>
        <pc:spChg chg="mod">
          <ac:chgData name="Aurelien Domont" userId="6da7715ce44349b3" providerId="LiveId" clId="{365A8E39-D1EE-4FEE-9D5E-3CC57D750A89}" dt="2021-09-22T06:15:40.371" v="4106" actId="404"/>
          <ac:spMkLst>
            <pc:docMk/>
            <pc:sldMk cId="2317062444" sldId="1562"/>
            <ac:spMk id="56" creationId="{AE66E8EC-53DB-4F2C-9C37-8847F2E2ED03}"/>
          </ac:spMkLst>
        </pc:spChg>
        <pc:spChg chg="add mod">
          <ac:chgData name="Aurelien Domont" userId="6da7715ce44349b3" providerId="LiveId" clId="{365A8E39-D1EE-4FEE-9D5E-3CC57D750A89}" dt="2021-09-22T06:15:31.395" v="4104"/>
          <ac:spMkLst>
            <pc:docMk/>
            <pc:sldMk cId="2317062444" sldId="1562"/>
            <ac:spMk id="57" creationId="{FFF418A2-C682-49A0-80E8-ADD5E99F1E76}"/>
          </ac:spMkLst>
        </pc:spChg>
        <pc:spChg chg="mod">
          <ac:chgData name="Aurelien Domont" userId="6da7715ce44349b3" providerId="LiveId" clId="{365A8E39-D1EE-4FEE-9D5E-3CC57D750A89}" dt="2021-09-22T06:15:40.371" v="4106" actId="404"/>
          <ac:spMkLst>
            <pc:docMk/>
            <pc:sldMk cId="2317062444" sldId="1562"/>
            <ac:spMk id="58" creationId="{EB040B80-8B04-40CD-BA0B-733C0ED67523}"/>
          </ac:spMkLst>
        </pc:spChg>
      </pc:sldChg>
      <pc:sldChg chg="add del">
        <pc:chgData name="Aurelien Domont" userId="6da7715ce44349b3" providerId="LiveId" clId="{365A8E39-D1EE-4FEE-9D5E-3CC57D750A89}" dt="2021-09-22T06:14:04.842" v="4026" actId="47"/>
        <pc:sldMkLst>
          <pc:docMk/>
          <pc:sldMk cId="3132763004" sldId="1563"/>
        </pc:sldMkLst>
      </pc:sldChg>
      <pc:sldChg chg="add del">
        <pc:chgData name="Aurelien Domont" userId="6da7715ce44349b3" providerId="LiveId" clId="{365A8E39-D1EE-4FEE-9D5E-3CC57D750A89}" dt="2021-09-22T06:14:09.386" v="4027" actId="47"/>
        <pc:sldMkLst>
          <pc:docMk/>
          <pc:sldMk cId="3562844070" sldId="1567"/>
        </pc:sldMkLst>
      </pc:sldChg>
      <pc:sldChg chg="add del">
        <pc:chgData name="Aurelien Domont" userId="6da7715ce44349b3" providerId="LiveId" clId="{365A8E39-D1EE-4FEE-9D5E-3CC57D750A89}" dt="2021-09-22T06:14:15.479" v="4028" actId="47"/>
        <pc:sldMkLst>
          <pc:docMk/>
          <pc:sldMk cId="2606253982" sldId="1568"/>
        </pc:sldMkLst>
      </pc:sldChg>
      <pc:sldChg chg="add del">
        <pc:chgData name="Aurelien Domont" userId="6da7715ce44349b3" providerId="LiveId" clId="{365A8E39-D1EE-4FEE-9D5E-3CC57D750A89}" dt="2021-09-22T06:14:18.088" v="4029" actId="47"/>
        <pc:sldMkLst>
          <pc:docMk/>
          <pc:sldMk cId="705146496" sldId="1569"/>
        </pc:sldMkLst>
      </pc:sldChg>
      <pc:sldChg chg="add del">
        <pc:chgData name="Aurelien Domont" userId="6da7715ce44349b3" providerId="LiveId" clId="{365A8E39-D1EE-4FEE-9D5E-3CC57D750A89}" dt="2021-09-22T06:14:20.676" v="4030" actId="47"/>
        <pc:sldMkLst>
          <pc:docMk/>
          <pc:sldMk cId="4209253123" sldId="1570"/>
        </pc:sldMkLst>
      </pc:sldChg>
      <pc:sldChg chg="add del">
        <pc:chgData name="Aurelien Domont" userId="6da7715ce44349b3" providerId="LiveId" clId="{365A8E39-D1EE-4FEE-9D5E-3CC57D750A89}" dt="2021-09-22T06:14:21.944" v="4031" actId="47"/>
        <pc:sldMkLst>
          <pc:docMk/>
          <pc:sldMk cId="548172080" sldId="1571"/>
        </pc:sldMkLst>
      </pc:sldChg>
      <pc:sldChg chg="modSp del mod">
        <pc:chgData name="Aurelien Domont" userId="6da7715ce44349b3" providerId="LiveId" clId="{365A8E39-D1EE-4FEE-9D5E-3CC57D750A89}" dt="2021-09-22T00:59:30.234" v="467" actId="47"/>
        <pc:sldMkLst>
          <pc:docMk/>
          <pc:sldMk cId="2356517374" sldId="1597"/>
        </pc:sldMkLst>
        <pc:spChg chg="mod">
          <ac:chgData name="Aurelien Domont" userId="6da7715ce44349b3" providerId="LiveId" clId="{365A8E39-D1EE-4FEE-9D5E-3CC57D750A89}" dt="2021-09-22T00:25:34.260" v="391" actId="20577"/>
          <ac:spMkLst>
            <pc:docMk/>
            <pc:sldMk cId="2356517374" sldId="1597"/>
            <ac:spMk id="12" creationId="{1D8BE6D5-37CE-49C8-818A-9BED70D3F374}"/>
          </ac:spMkLst>
        </pc:spChg>
      </pc:sldChg>
      <pc:sldChg chg="del">
        <pc:chgData name="Aurelien Domont" userId="6da7715ce44349b3" providerId="LiveId" clId="{365A8E39-D1EE-4FEE-9D5E-3CC57D750A89}" dt="2021-09-22T00:59:30.234" v="467" actId="47"/>
        <pc:sldMkLst>
          <pc:docMk/>
          <pc:sldMk cId="2815671749" sldId="1601"/>
        </pc:sldMkLst>
      </pc:sldChg>
      <pc:sldChg chg="del">
        <pc:chgData name="Aurelien Domont" userId="6da7715ce44349b3" providerId="LiveId" clId="{365A8E39-D1EE-4FEE-9D5E-3CC57D750A89}" dt="2021-09-22T00:59:30.234" v="467" actId="47"/>
        <pc:sldMkLst>
          <pc:docMk/>
          <pc:sldMk cId="3921452590" sldId="1602"/>
        </pc:sldMkLst>
      </pc:sldChg>
      <pc:sldChg chg="del">
        <pc:chgData name="Aurelien Domont" userId="6da7715ce44349b3" providerId="LiveId" clId="{365A8E39-D1EE-4FEE-9D5E-3CC57D750A89}" dt="2021-09-22T00:25:52.683" v="393" actId="47"/>
        <pc:sldMkLst>
          <pc:docMk/>
          <pc:sldMk cId="2854167876" sldId="1604"/>
        </pc:sldMkLst>
      </pc:sldChg>
      <pc:sldChg chg="del">
        <pc:chgData name="Aurelien Domont" userId="6da7715ce44349b3" providerId="LiveId" clId="{365A8E39-D1EE-4FEE-9D5E-3CC57D750A89}" dt="2021-09-22T00:29:46.170" v="463" actId="47"/>
        <pc:sldMkLst>
          <pc:docMk/>
          <pc:sldMk cId="3097511976" sldId="1606"/>
        </pc:sldMkLst>
      </pc:sldChg>
      <pc:sldChg chg="del">
        <pc:chgData name="Aurelien Domont" userId="6da7715ce44349b3" providerId="LiveId" clId="{365A8E39-D1EE-4FEE-9D5E-3CC57D750A89}" dt="2021-09-22T00:29:46.170" v="463" actId="47"/>
        <pc:sldMkLst>
          <pc:docMk/>
          <pc:sldMk cId="203125793" sldId="1608"/>
        </pc:sldMkLst>
      </pc:sldChg>
      <pc:sldChg chg="del">
        <pc:chgData name="Aurelien Domont" userId="6da7715ce44349b3" providerId="LiveId" clId="{365A8E39-D1EE-4FEE-9D5E-3CC57D750A89}" dt="2021-09-22T00:29:46.170" v="463" actId="47"/>
        <pc:sldMkLst>
          <pc:docMk/>
          <pc:sldMk cId="75080109" sldId="1609"/>
        </pc:sldMkLst>
      </pc:sldChg>
      <pc:sldChg chg="del">
        <pc:chgData name="Aurelien Domont" userId="6da7715ce44349b3" providerId="LiveId" clId="{365A8E39-D1EE-4FEE-9D5E-3CC57D750A89}" dt="2021-09-22T00:29:46.170" v="463" actId="47"/>
        <pc:sldMkLst>
          <pc:docMk/>
          <pc:sldMk cId="221549742" sldId="1610"/>
        </pc:sldMkLst>
      </pc:sldChg>
      <pc:sldChg chg="del">
        <pc:chgData name="Aurelien Domont" userId="6da7715ce44349b3" providerId="LiveId" clId="{365A8E39-D1EE-4FEE-9D5E-3CC57D750A89}" dt="2021-09-22T00:29:46.170" v="463" actId="47"/>
        <pc:sldMkLst>
          <pc:docMk/>
          <pc:sldMk cId="1430086869" sldId="1611"/>
        </pc:sldMkLst>
      </pc:sldChg>
      <pc:sldChg chg="del">
        <pc:chgData name="Aurelien Domont" userId="6da7715ce44349b3" providerId="LiveId" clId="{365A8E39-D1EE-4FEE-9D5E-3CC57D750A89}" dt="2021-09-22T00:29:46.170" v="463" actId="47"/>
        <pc:sldMkLst>
          <pc:docMk/>
          <pc:sldMk cId="826694542" sldId="1612"/>
        </pc:sldMkLst>
      </pc:sldChg>
      <pc:sldChg chg="add del">
        <pc:chgData name="Aurelien Domont" userId="6da7715ce44349b3" providerId="LiveId" clId="{365A8E39-D1EE-4FEE-9D5E-3CC57D750A89}" dt="2021-09-22T00:02:47.632" v="104" actId="47"/>
        <pc:sldMkLst>
          <pc:docMk/>
          <pc:sldMk cId="3132995512" sldId="1616"/>
        </pc:sldMkLst>
      </pc:sldChg>
      <pc:sldChg chg="add del">
        <pc:chgData name="Aurelien Domont" userId="6da7715ce44349b3" providerId="LiveId" clId="{365A8E39-D1EE-4FEE-9D5E-3CC57D750A89}" dt="2021-09-22T00:02:47.632" v="104" actId="47"/>
        <pc:sldMkLst>
          <pc:docMk/>
          <pc:sldMk cId="1033555564" sldId="1617"/>
        </pc:sldMkLst>
      </pc:sldChg>
      <pc:sldChg chg="del">
        <pc:chgData name="Aurelien Domont" userId="6da7715ce44349b3" providerId="LiveId" clId="{365A8E39-D1EE-4FEE-9D5E-3CC57D750A89}" dt="2021-09-22T00:25:52.683" v="393" actId="47"/>
        <pc:sldMkLst>
          <pc:docMk/>
          <pc:sldMk cId="3934364823" sldId="1620"/>
        </pc:sldMkLst>
      </pc:sldChg>
      <pc:sldChg chg="del">
        <pc:chgData name="Aurelien Domont" userId="6da7715ce44349b3" providerId="LiveId" clId="{365A8E39-D1EE-4FEE-9D5E-3CC57D750A89}" dt="2021-09-22T00:25:52.683" v="393" actId="47"/>
        <pc:sldMkLst>
          <pc:docMk/>
          <pc:sldMk cId="2154860040" sldId="1621"/>
        </pc:sldMkLst>
      </pc:sldChg>
      <pc:sldChg chg="del">
        <pc:chgData name="Aurelien Domont" userId="6da7715ce44349b3" providerId="LiveId" clId="{365A8E39-D1EE-4FEE-9D5E-3CC57D750A89}" dt="2021-09-22T00:25:52.683" v="393" actId="47"/>
        <pc:sldMkLst>
          <pc:docMk/>
          <pc:sldMk cId="2200018290" sldId="1622"/>
        </pc:sldMkLst>
      </pc:sldChg>
      <pc:sldChg chg="del">
        <pc:chgData name="Aurelien Domont" userId="6da7715ce44349b3" providerId="LiveId" clId="{365A8E39-D1EE-4FEE-9D5E-3CC57D750A89}" dt="2021-09-22T00:25:46.861" v="392" actId="47"/>
        <pc:sldMkLst>
          <pc:docMk/>
          <pc:sldMk cId="167851172" sldId="1623"/>
        </pc:sldMkLst>
      </pc:sldChg>
      <pc:sldChg chg="del">
        <pc:chgData name="Aurelien Domont" userId="6da7715ce44349b3" providerId="LiveId" clId="{365A8E39-D1EE-4FEE-9D5E-3CC57D750A89}" dt="2021-09-22T00:29:46.170" v="463" actId="47"/>
        <pc:sldMkLst>
          <pc:docMk/>
          <pc:sldMk cId="2168617119" sldId="1624"/>
        </pc:sldMkLst>
      </pc:sldChg>
      <pc:sldChg chg="del">
        <pc:chgData name="Aurelien Domont" userId="6da7715ce44349b3" providerId="LiveId" clId="{365A8E39-D1EE-4FEE-9D5E-3CC57D750A89}" dt="2021-09-22T00:29:46.170" v="463" actId="47"/>
        <pc:sldMkLst>
          <pc:docMk/>
          <pc:sldMk cId="1413178546" sldId="1625"/>
        </pc:sldMkLst>
      </pc:sldChg>
      <pc:sldChg chg="del">
        <pc:chgData name="Aurelien Domont" userId="6da7715ce44349b3" providerId="LiveId" clId="{365A8E39-D1EE-4FEE-9D5E-3CC57D750A89}" dt="2021-09-22T00:29:46.170" v="463" actId="47"/>
        <pc:sldMkLst>
          <pc:docMk/>
          <pc:sldMk cId="1570167118" sldId="1626"/>
        </pc:sldMkLst>
      </pc:sldChg>
      <pc:sldChg chg="del">
        <pc:chgData name="Aurelien Domont" userId="6da7715ce44349b3" providerId="LiveId" clId="{365A8E39-D1EE-4FEE-9D5E-3CC57D750A89}" dt="2021-09-22T00:29:46.170" v="463" actId="47"/>
        <pc:sldMkLst>
          <pc:docMk/>
          <pc:sldMk cId="1432716724" sldId="1627"/>
        </pc:sldMkLst>
      </pc:sldChg>
      <pc:sldChg chg="del">
        <pc:chgData name="Aurelien Domont" userId="6da7715ce44349b3" providerId="LiveId" clId="{365A8E39-D1EE-4FEE-9D5E-3CC57D750A89}" dt="2021-09-22T00:29:46.170" v="463" actId="47"/>
        <pc:sldMkLst>
          <pc:docMk/>
          <pc:sldMk cId="2989568122" sldId="1628"/>
        </pc:sldMkLst>
      </pc:sldChg>
      <pc:sldChg chg="del">
        <pc:chgData name="Aurelien Domont" userId="6da7715ce44349b3" providerId="LiveId" clId="{365A8E39-D1EE-4FEE-9D5E-3CC57D750A89}" dt="2021-09-22T00:29:46.170" v="463" actId="47"/>
        <pc:sldMkLst>
          <pc:docMk/>
          <pc:sldMk cId="1650458346" sldId="1629"/>
        </pc:sldMkLst>
      </pc:sldChg>
      <pc:sldChg chg="del">
        <pc:chgData name="Aurelien Domont" userId="6da7715ce44349b3" providerId="LiveId" clId="{365A8E39-D1EE-4FEE-9D5E-3CC57D750A89}" dt="2021-09-22T00:29:46.170" v="463" actId="47"/>
        <pc:sldMkLst>
          <pc:docMk/>
          <pc:sldMk cId="1840306377" sldId="1630"/>
        </pc:sldMkLst>
      </pc:sldChg>
      <pc:sldChg chg="del">
        <pc:chgData name="Aurelien Domont" userId="6da7715ce44349b3" providerId="LiveId" clId="{365A8E39-D1EE-4FEE-9D5E-3CC57D750A89}" dt="2021-09-22T00:29:46.170" v="463" actId="47"/>
        <pc:sldMkLst>
          <pc:docMk/>
          <pc:sldMk cId="3499971063" sldId="1631"/>
        </pc:sldMkLst>
      </pc:sldChg>
      <pc:sldChg chg="del">
        <pc:chgData name="Aurelien Domont" userId="6da7715ce44349b3" providerId="LiveId" clId="{365A8E39-D1EE-4FEE-9D5E-3CC57D750A89}" dt="2021-09-22T00:29:46.170" v="463" actId="47"/>
        <pc:sldMkLst>
          <pc:docMk/>
          <pc:sldMk cId="731383534" sldId="1632"/>
        </pc:sldMkLst>
      </pc:sldChg>
      <pc:sldChg chg="del">
        <pc:chgData name="Aurelien Domont" userId="6da7715ce44349b3" providerId="LiveId" clId="{365A8E39-D1EE-4FEE-9D5E-3CC57D750A89}" dt="2021-09-22T00:29:46.170" v="463" actId="47"/>
        <pc:sldMkLst>
          <pc:docMk/>
          <pc:sldMk cId="2655339404" sldId="1633"/>
        </pc:sldMkLst>
      </pc:sldChg>
      <pc:sldChg chg="del">
        <pc:chgData name="Aurelien Domont" userId="6da7715ce44349b3" providerId="LiveId" clId="{365A8E39-D1EE-4FEE-9D5E-3CC57D750A89}" dt="2021-09-22T00:29:46.170" v="463" actId="47"/>
        <pc:sldMkLst>
          <pc:docMk/>
          <pc:sldMk cId="3892463629" sldId="1672"/>
        </pc:sldMkLst>
      </pc:sldChg>
      <pc:sldChg chg="del">
        <pc:chgData name="Aurelien Domont" userId="6da7715ce44349b3" providerId="LiveId" clId="{365A8E39-D1EE-4FEE-9D5E-3CC57D750A89}" dt="2021-09-22T00:29:46.170" v="463" actId="47"/>
        <pc:sldMkLst>
          <pc:docMk/>
          <pc:sldMk cId="1731657047" sldId="1678"/>
        </pc:sldMkLst>
      </pc:sldChg>
      <pc:sldChg chg="del">
        <pc:chgData name="Aurelien Domont" userId="6da7715ce44349b3" providerId="LiveId" clId="{365A8E39-D1EE-4FEE-9D5E-3CC57D750A89}" dt="2021-09-22T00:29:46.170" v="463" actId="47"/>
        <pc:sldMkLst>
          <pc:docMk/>
          <pc:sldMk cId="4262757208" sldId="1792"/>
        </pc:sldMkLst>
      </pc:sldChg>
      <pc:sldChg chg="del">
        <pc:chgData name="Aurelien Domont" userId="6da7715ce44349b3" providerId="LiveId" clId="{365A8E39-D1EE-4FEE-9D5E-3CC57D750A89}" dt="2021-09-22T00:29:46.170" v="463" actId="47"/>
        <pc:sldMkLst>
          <pc:docMk/>
          <pc:sldMk cId="504490806" sldId="1796"/>
        </pc:sldMkLst>
      </pc:sldChg>
      <pc:sldChg chg="modSp add mod">
        <pc:chgData name="Aurelien Domont" userId="6da7715ce44349b3" providerId="LiveId" clId="{365A8E39-D1EE-4FEE-9D5E-3CC57D750A89}" dt="2021-09-22T06:14:39.981" v="4060" actId="20577"/>
        <pc:sldMkLst>
          <pc:docMk/>
          <pc:sldMk cId="597933806" sldId="1925"/>
        </pc:sldMkLst>
        <pc:spChg chg="mod">
          <ac:chgData name="Aurelien Domont" userId="6da7715ce44349b3" providerId="LiveId" clId="{365A8E39-D1EE-4FEE-9D5E-3CC57D750A89}" dt="2021-09-22T06:14:39.981" v="4060" actId="20577"/>
          <ac:spMkLst>
            <pc:docMk/>
            <pc:sldMk cId="597933806" sldId="1925"/>
            <ac:spMk id="22" creationId="{7AEEE1DB-4711-4CCE-8742-65DB0C1C9720}"/>
          </ac:spMkLst>
        </pc:spChg>
      </pc:sldChg>
      <pc:sldChg chg="addSp delSp modSp add mod">
        <pc:chgData name="Aurelien Domont" userId="6da7715ce44349b3" providerId="LiveId" clId="{365A8E39-D1EE-4FEE-9D5E-3CC57D750A89}" dt="2021-09-22T06:15:23.638" v="4100"/>
        <pc:sldMkLst>
          <pc:docMk/>
          <pc:sldMk cId="317604876" sldId="1935"/>
        </pc:sldMkLst>
        <pc:spChg chg="add mod">
          <ac:chgData name="Aurelien Domont" userId="6da7715ce44349b3" providerId="LiveId" clId="{365A8E39-D1EE-4FEE-9D5E-3CC57D750A89}" dt="2021-09-22T06:15:23.638" v="4100"/>
          <ac:spMkLst>
            <pc:docMk/>
            <pc:sldMk cId="317604876" sldId="1935"/>
            <ac:spMk id="31" creationId="{ACABBA3F-BC80-4E80-A9B9-D11C54A7901A}"/>
          </ac:spMkLst>
        </pc:spChg>
        <pc:spChg chg="del">
          <ac:chgData name="Aurelien Domont" userId="6da7715ce44349b3" providerId="LiveId" clId="{365A8E39-D1EE-4FEE-9D5E-3CC57D750A89}" dt="2021-09-22T06:15:23.421" v="4099" actId="478"/>
          <ac:spMkLst>
            <pc:docMk/>
            <pc:sldMk cId="317604876" sldId="1935"/>
            <ac:spMk id="32" creationId="{E6DB8426-07F9-4F36-8F9C-EF53BA3CAC3C}"/>
          </ac:spMkLst>
        </pc:spChg>
      </pc:sldChg>
      <pc:sldChg chg="del">
        <pc:chgData name="Aurelien Domont" userId="6da7715ce44349b3" providerId="LiveId" clId="{365A8E39-D1EE-4FEE-9D5E-3CC57D750A89}" dt="2021-09-22T00:29:46.170" v="463" actId="47"/>
        <pc:sldMkLst>
          <pc:docMk/>
          <pc:sldMk cId="529194852" sldId="1971"/>
        </pc:sldMkLst>
      </pc:sldChg>
      <pc:sldChg chg="del">
        <pc:chgData name="Aurelien Domont" userId="6da7715ce44349b3" providerId="LiveId" clId="{365A8E39-D1EE-4FEE-9D5E-3CC57D750A89}" dt="2021-09-22T00:29:46.170" v="463" actId="47"/>
        <pc:sldMkLst>
          <pc:docMk/>
          <pc:sldMk cId="1026744296" sldId="1986"/>
        </pc:sldMkLst>
      </pc:sldChg>
      <pc:sldChg chg="del">
        <pc:chgData name="Aurelien Domont" userId="6da7715ce44349b3" providerId="LiveId" clId="{365A8E39-D1EE-4FEE-9D5E-3CC57D750A89}" dt="2021-09-22T00:29:46.170" v="463" actId="47"/>
        <pc:sldMkLst>
          <pc:docMk/>
          <pc:sldMk cId="1940386508" sldId="1988"/>
        </pc:sldMkLst>
      </pc:sldChg>
      <pc:sldChg chg="del">
        <pc:chgData name="Aurelien Domont" userId="6da7715ce44349b3" providerId="LiveId" clId="{365A8E39-D1EE-4FEE-9D5E-3CC57D750A89}" dt="2021-09-22T00:29:46.170" v="463" actId="47"/>
        <pc:sldMkLst>
          <pc:docMk/>
          <pc:sldMk cId="2299758324" sldId="1989"/>
        </pc:sldMkLst>
      </pc:sldChg>
      <pc:sldChg chg="del">
        <pc:chgData name="Aurelien Domont" userId="6da7715ce44349b3" providerId="LiveId" clId="{365A8E39-D1EE-4FEE-9D5E-3CC57D750A89}" dt="2021-09-22T00:29:46.170" v="463" actId="47"/>
        <pc:sldMkLst>
          <pc:docMk/>
          <pc:sldMk cId="1124419684" sldId="1990"/>
        </pc:sldMkLst>
      </pc:sldChg>
      <pc:sldChg chg="del">
        <pc:chgData name="Aurelien Domont" userId="6da7715ce44349b3" providerId="LiveId" clId="{365A8E39-D1EE-4FEE-9D5E-3CC57D750A89}" dt="2021-09-22T00:29:46.170" v="463" actId="47"/>
        <pc:sldMkLst>
          <pc:docMk/>
          <pc:sldMk cId="205289071" sldId="1991"/>
        </pc:sldMkLst>
      </pc:sldChg>
      <pc:sldChg chg="del">
        <pc:chgData name="Aurelien Domont" userId="6da7715ce44349b3" providerId="LiveId" clId="{365A8E39-D1EE-4FEE-9D5E-3CC57D750A89}" dt="2021-09-22T00:29:46.170" v="463" actId="47"/>
        <pc:sldMkLst>
          <pc:docMk/>
          <pc:sldMk cId="3239629277" sldId="1992"/>
        </pc:sldMkLst>
      </pc:sldChg>
      <pc:sldChg chg="del">
        <pc:chgData name="Aurelien Domont" userId="6da7715ce44349b3" providerId="LiveId" clId="{365A8E39-D1EE-4FEE-9D5E-3CC57D750A89}" dt="2021-09-22T00:29:46.170" v="463" actId="47"/>
        <pc:sldMkLst>
          <pc:docMk/>
          <pc:sldMk cId="1752228771" sldId="1993"/>
        </pc:sldMkLst>
      </pc:sldChg>
      <pc:sldChg chg="del">
        <pc:chgData name="Aurelien Domont" userId="6da7715ce44349b3" providerId="LiveId" clId="{365A8E39-D1EE-4FEE-9D5E-3CC57D750A89}" dt="2021-09-22T00:29:46.170" v="463" actId="47"/>
        <pc:sldMkLst>
          <pc:docMk/>
          <pc:sldMk cId="2300727758" sldId="2012"/>
        </pc:sldMkLst>
      </pc:sldChg>
      <pc:sldChg chg="modSp add mod">
        <pc:chgData name="Aurelien Domont" userId="6da7715ce44349b3" providerId="LiveId" clId="{365A8E39-D1EE-4FEE-9D5E-3CC57D750A89}" dt="2021-09-22T06:15:18.088" v="4098" actId="20577"/>
        <pc:sldMkLst>
          <pc:docMk/>
          <pc:sldMk cId="460632394" sldId="2035"/>
        </pc:sldMkLst>
        <pc:spChg chg="mod">
          <ac:chgData name="Aurelien Domont" userId="6da7715ce44349b3" providerId="LiveId" clId="{365A8E39-D1EE-4FEE-9D5E-3CC57D750A89}" dt="2021-09-22T06:15:18.088" v="4098" actId="20577"/>
          <ac:spMkLst>
            <pc:docMk/>
            <pc:sldMk cId="460632394" sldId="2035"/>
            <ac:spMk id="30" creationId="{98B34461-5CBC-4FD1-A323-A10363C0B01C}"/>
          </ac:spMkLst>
        </pc:spChg>
      </pc:sldChg>
      <pc:sldChg chg="addSp delSp modSp add mod">
        <pc:chgData name="Aurelien Domont" userId="6da7715ce44349b3" providerId="LiveId" clId="{365A8E39-D1EE-4FEE-9D5E-3CC57D750A89}" dt="2021-09-22T01:59:11.155" v="2421" actId="478"/>
        <pc:sldMkLst>
          <pc:docMk/>
          <pc:sldMk cId="2346025138" sldId="2155"/>
        </pc:sldMkLst>
        <pc:spChg chg="mod">
          <ac:chgData name="Aurelien Domont" userId="6da7715ce44349b3" providerId="LiveId" clId="{365A8E39-D1EE-4FEE-9D5E-3CC57D750A89}" dt="2021-09-22T01:57:34.210" v="2350" actId="1037"/>
          <ac:spMkLst>
            <pc:docMk/>
            <pc:sldMk cId="2346025138" sldId="2155"/>
            <ac:spMk id="12" creationId="{AEC3A11A-D585-4891-A7AB-E2CF58B637BD}"/>
          </ac:spMkLst>
        </pc:spChg>
        <pc:spChg chg="del">
          <ac:chgData name="Aurelien Domont" userId="6da7715ce44349b3" providerId="LiveId" clId="{365A8E39-D1EE-4FEE-9D5E-3CC57D750A89}" dt="2021-09-22T01:55:44.605" v="2297" actId="478"/>
          <ac:spMkLst>
            <pc:docMk/>
            <pc:sldMk cId="2346025138" sldId="2155"/>
            <ac:spMk id="14" creationId="{AF2C9B93-915C-4105-9C97-819A28436820}"/>
          </ac:spMkLst>
        </pc:spChg>
        <pc:spChg chg="del">
          <ac:chgData name="Aurelien Domont" userId="6da7715ce44349b3" providerId="LiveId" clId="{365A8E39-D1EE-4FEE-9D5E-3CC57D750A89}" dt="2021-09-22T01:55:44.605" v="2297" actId="478"/>
          <ac:spMkLst>
            <pc:docMk/>
            <pc:sldMk cId="2346025138" sldId="2155"/>
            <ac:spMk id="15" creationId="{6EBB799A-DD91-4C68-A23D-4F535C1DE6D0}"/>
          </ac:spMkLst>
        </pc:spChg>
        <pc:spChg chg="mod">
          <ac:chgData name="Aurelien Domont" userId="6da7715ce44349b3" providerId="LiveId" clId="{365A8E39-D1EE-4FEE-9D5E-3CC57D750A89}" dt="2021-09-22T01:55:14.887" v="2274" actId="20577"/>
          <ac:spMkLst>
            <pc:docMk/>
            <pc:sldMk cId="2346025138" sldId="2155"/>
            <ac:spMk id="16" creationId="{6C2BB713-9637-4B9B-938F-E9768876782A}"/>
          </ac:spMkLst>
        </pc:spChg>
        <pc:spChg chg="del">
          <ac:chgData name="Aurelien Domont" userId="6da7715ce44349b3" providerId="LiveId" clId="{365A8E39-D1EE-4FEE-9D5E-3CC57D750A89}" dt="2021-09-22T01:55:44.605" v="2297" actId="478"/>
          <ac:spMkLst>
            <pc:docMk/>
            <pc:sldMk cId="2346025138" sldId="2155"/>
            <ac:spMk id="17" creationId="{CC6CAF77-0808-4A3C-A405-53BEB5C9BF32}"/>
          </ac:spMkLst>
        </pc:spChg>
        <pc:spChg chg="del">
          <ac:chgData name="Aurelien Domont" userId="6da7715ce44349b3" providerId="LiveId" clId="{365A8E39-D1EE-4FEE-9D5E-3CC57D750A89}" dt="2021-09-22T01:55:44.605" v="2297" actId="478"/>
          <ac:spMkLst>
            <pc:docMk/>
            <pc:sldMk cId="2346025138" sldId="2155"/>
            <ac:spMk id="18" creationId="{03C8F5C1-E31C-4905-A68D-C6EAC402BE99}"/>
          </ac:spMkLst>
        </pc:spChg>
        <pc:spChg chg="del">
          <ac:chgData name="Aurelien Domont" userId="6da7715ce44349b3" providerId="LiveId" clId="{365A8E39-D1EE-4FEE-9D5E-3CC57D750A89}" dt="2021-09-22T01:55:44.605" v="2297" actId="478"/>
          <ac:spMkLst>
            <pc:docMk/>
            <pc:sldMk cId="2346025138" sldId="2155"/>
            <ac:spMk id="24" creationId="{3921BBDB-53B5-4760-9FC7-6E553D430312}"/>
          </ac:spMkLst>
        </pc:spChg>
        <pc:spChg chg="del">
          <ac:chgData name="Aurelien Domont" userId="6da7715ce44349b3" providerId="LiveId" clId="{365A8E39-D1EE-4FEE-9D5E-3CC57D750A89}" dt="2021-09-22T01:55:44.605" v="2297" actId="478"/>
          <ac:spMkLst>
            <pc:docMk/>
            <pc:sldMk cId="2346025138" sldId="2155"/>
            <ac:spMk id="30" creationId="{6C839CA0-84F2-4101-9721-20A5629A3053}"/>
          </ac:spMkLst>
        </pc:spChg>
        <pc:spChg chg="add mod">
          <ac:chgData name="Aurelien Domont" userId="6da7715ce44349b3" providerId="LiveId" clId="{365A8E39-D1EE-4FEE-9D5E-3CC57D750A89}" dt="2021-09-22T01:57:20.229" v="2340" actId="14100"/>
          <ac:spMkLst>
            <pc:docMk/>
            <pc:sldMk cId="2346025138" sldId="2155"/>
            <ac:spMk id="31" creationId="{9550F600-7893-4D06-A6C2-E09058596BE5}"/>
          </ac:spMkLst>
        </pc:spChg>
        <pc:spChg chg="add del mod">
          <ac:chgData name="Aurelien Domont" userId="6da7715ce44349b3" providerId="LiveId" clId="{365A8E39-D1EE-4FEE-9D5E-3CC57D750A89}" dt="2021-09-22T01:57:24.339" v="2342" actId="478"/>
          <ac:spMkLst>
            <pc:docMk/>
            <pc:sldMk cId="2346025138" sldId="2155"/>
            <ac:spMk id="32" creationId="{844C2681-7A29-46A2-B745-A5DB24885538}"/>
          </ac:spMkLst>
        </pc:spChg>
        <pc:spChg chg="add del mod">
          <ac:chgData name="Aurelien Domont" userId="6da7715ce44349b3" providerId="LiveId" clId="{365A8E39-D1EE-4FEE-9D5E-3CC57D750A89}" dt="2021-09-22T01:57:23.674" v="2341" actId="478"/>
          <ac:spMkLst>
            <pc:docMk/>
            <pc:sldMk cId="2346025138" sldId="2155"/>
            <ac:spMk id="33" creationId="{74377045-A3C3-4DA9-B699-94FA83D7234A}"/>
          </ac:spMkLst>
        </pc:spChg>
        <pc:spChg chg="add mod">
          <ac:chgData name="Aurelien Domont" userId="6da7715ce44349b3" providerId="LiveId" clId="{365A8E39-D1EE-4FEE-9D5E-3CC57D750A89}" dt="2021-09-22T01:58:05.532" v="2408" actId="1037"/>
          <ac:spMkLst>
            <pc:docMk/>
            <pc:sldMk cId="2346025138" sldId="2155"/>
            <ac:spMk id="40" creationId="{B62A05CD-190F-4EFB-8C43-8B84122C5716}"/>
          </ac:spMkLst>
        </pc:spChg>
        <pc:spChg chg="add mod">
          <ac:chgData name="Aurelien Domont" userId="6da7715ce44349b3" providerId="LiveId" clId="{365A8E39-D1EE-4FEE-9D5E-3CC57D750A89}" dt="2021-09-22T01:57:59.973" v="2391" actId="1038"/>
          <ac:spMkLst>
            <pc:docMk/>
            <pc:sldMk cId="2346025138" sldId="2155"/>
            <ac:spMk id="41" creationId="{7A445D4E-F73A-4FC8-84EC-6AD465AB1101}"/>
          </ac:spMkLst>
        </pc:spChg>
        <pc:spChg chg="add mod">
          <ac:chgData name="Aurelien Domont" userId="6da7715ce44349b3" providerId="LiveId" clId="{365A8E39-D1EE-4FEE-9D5E-3CC57D750A89}" dt="2021-09-22T01:58:10.681" v="2409" actId="571"/>
          <ac:spMkLst>
            <pc:docMk/>
            <pc:sldMk cId="2346025138" sldId="2155"/>
            <ac:spMk id="42" creationId="{D299C136-6592-4754-9D1A-99B1B13B84B3}"/>
          </ac:spMkLst>
        </pc:spChg>
        <pc:spChg chg="add mod">
          <ac:chgData name="Aurelien Domont" userId="6da7715ce44349b3" providerId="LiveId" clId="{365A8E39-D1EE-4FEE-9D5E-3CC57D750A89}" dt="2021-09-22T01:58:10.681" v="2409" actId="571"/>
          <ac:spMkLst>
            <pc:docMk/>
            <pc:sldMk cId="2346025138" sldId="2155"/>
            <ac:spMk id="43" creationId="{10CB8115-8B3C-4351-872A-48FB0458B3DC}"/>
          </ac:spMkLst>
        </pc:spChg>
        <pc:spChg chg="add mod">
          <ac:chgData name="Aurelien Domont" userId="6da7715ce44349b3" providerId="LiveId" clId="{365A8E39-D1EE-4FEE-9D5E-3CC57D750A89}" dt="2021-09-22T01:58:46.847" v="2415" actId="571"/>
          <ac:spMkLst>
            <pc:docMk/>
            <pc:sldMk cId="2346025138" sldId="2155"/>
            <ac:spMk id="53" creationId="{1CA72457-075D-42E9-BE50-07542FEBBD1F}"/>
          </ac:spMkLst>
        </pc:spChg>
        <pc:spChg chg="add mod">
          <ac:chgData name="Aurelien Domont" userId="6da7715ce44349b3" providerId="LiveId" clId="{365A8E39-D1EE-4FEE-9D5E-3CC57D750A89}" dt="2021-09-22T01:58:50.077" v="2416" actId="571"/>
          <ac:spMkLst>
            <pc:docMk/>
            <pc:sldMk cId="2346025138" sldId="2155"/>
            <ac:spMk id="54" creationId="{FFFB37B3-029A-4B16-B81D-E2B70105E1EC}"/>
          </ac:spMkLst>
        </pc:spChg>
        <pc:spChg chg="add mod">
          <ac:chgData name="Aurelien Domont" userId="6da7715ce44349b3" providerId="LiveId" clId="{365A8E39-D1EE-4FEE-9D5E-3CC57D750A89}" dt="2021-09-22T01:58:54.065" v="2417" actId="571"/>
          <ac:spMkLst>
            <pc:docMk/>
            <pc:sldMk cId="2346025138" sldId="2155"/>
            <ac:spMk id="56" creationId="{DC650899-EAD9-48E4-BE50-A91F302D5A1C}"/>
          </ac:spMkLst>
        </pc:spChg>
        <pc:spChg chg="del">
          <ac:chgData name="Aurelien Domont" userId="6da7715ce44349b3" providerId="LiveId" clId="{365A8E39-D1EE-4FEE-9D5E-3CC57D750A89}" dt="2021-09-22T01:55:44.605" v="2297" actId="478"/>
          <ac:spMkLst>
            <pc:docMk/>
            <pc:sldMk cId="2346025138" sldId="2155"/>
            <ac:spMk id="60" creationId="{AD84A7F9-2952-47E8-B7AC-FD9CC201BB66}"/>
          </ac:spMkLst>
        </pc:spChg>
        <pc:spChg chg="del">
          <ac:chgData name="Aurelien Domont" userId="6da7715ce44349b3" providerId="LiveId" clId="{365A8E39-D1EE-4FEE-9D5E-3CC57D750A89}" dt="2021-09-22T01:55:44.605" v="2297" actId="478"/>
          <ac:spMkLst>
            <pc:docMk/>
            <pc:sldMk cId="2346025138" sldId="2155"/>
            <ac:spMk id="65" creationId="{D6534CDC-674F-4AB4-8A22-79E1A8CD2E92}"/>
          </ac:spMkLst>
        </pc:spChg>
        <pc:spChg chg="del">
          <ac:chgData name="Aurelien Domont" userId="6da7715ce44349b3" providerId="LiveId" clId="{365A8E39-D1EE-4FEE-9D5E-3CC57D750A89}" dt="2021-09-22T01:55:44.605" v="2297" actId="478"/>
          <ac:spMkLst>
            <pc:docMk/>
            <pc:sldMk cId="2346025138" sldId="2155"/>
            <ac:spMk id="66" creationId="{A663B09E-8C3F-443D-8C96-81B8EFA531E8}"/>
          </ac:spMkLst>
        </pc:spChg>
        <pc:spChg chg="del">
          <ac:chgData name="Aurelien Domont" userId="6da7715ce44349b3" providerId="LiveId" clId="{365A8E39-D1EE-4FEE-9D5E-3CC57D750A89}" dt="2021-09-22T01:55:44.605" v="2297" actId="478"/>
          <ac:spMkLst>
            <pc:docMk/>
            <pc:sldMk cId="2346025138" sldId="2155"/>
            <ac:spMk id="67" creationId="{FE63F62A-3736-44BC-B67F-36124629F578}"/>
          </ac:spMkLst>
        </pc:spChg>
        <pc:spChg chg="del">
          <ac:chgData name="Aurelien Domont" userId="6da7715ce44349b3" providerId="LiveId" clId="{365A8E39-D1EE-4FEE-9D5E-3CC57D750A89}" dt="2021-09-22T01:55:44.605" v="2297" actId="478"/>
          <ac:spMkLst>
            <pc:docMk/>
            <pc:sldMk cId="2346025138" sldId="2155"/>
            <ac:spMk id="68" creationId="{09FC8043-DFFE-45CA-BBDB-583DBFC2B262}"/>
          </ac:spMkLst>
        </pc:spChg>
        <pc:spChg chg="del">
          <ac:chgData name="Aurelien Domont" userId="6da7715ce44349b3" providerId="LiveId" clId="{365A8E39-D1EE-4FEE-9D5E-3CC57D750A89}" dt="2021-09-22T01:55:44.605" v="2297" actId="478"/>
          <ac:spMkLst>
            <pc:docMk/>
            <pc:sldMk cId="2346025138" sldId="2155"/>
            <ac:spMk id="69" creationId="{0C2A6138-D911-46CA-BEC8-060061FF9F4B}"/>
          </ac:spMkLst>
        </pc:spChg>
        <pc:spChg chg="del">
          <ac:chgData name="Aurelien Domont" userId="6da7715ce44349b3" providerId="LiveId" clId="{365A8E39-D1EE-4FEE-9D5E-3CC57D750A89}" dt="2021-09-22T01:55:44.605" v="2297" actId="478"/>
          <ac:spMkLst>
            <pc:docMk/>
            <pc:sldMk cId="2346025138" sldId="2155"/>
            <ac:spMk id="70" creationId="{11B80DD3-4AB5-4602-978F-A6D0EEE18F7E}"/>
          </ac:spMkLst>
        </pc:spChg>
        <pc:spChg chg="del">
          <ac:chgData name="Aurelien Domont" userId="6da7715ce44349b3" providerId="LiveId" clId="{365A8E39-D1EE-4FEE-9D5E-3CC57D750A89}" dt="2021-09-22T01:55:44.605" v="2297" actId="478"/>
          <ac:spMkLst>
            <pc:docMk/>
            <pc:sldMk cId="2346025138" sldId="2155"/>
            <ac:spMk id="71" creationId="{3907F25A-692B-484D-82A9-855E646528BF}"/>
          </ac:spMkLst>
        </pc:spChg>
        <pc:spChg chg="del">
          <ac:chgData name="Aurelien Domont" userId="6da7715ce44349b3" providerId="LiveId" clId="{365A8E39-D1EE-4FEE-9D5E-3CC57D750A89}" dt="2021-09-22T01:58:40.356" v="2414" actId="478"/>
          <ac:spMkLst>
            <pc:docMk/>
            <pc:sldMk cId="2346025138" sldId="2155"/>
            <ac:spMk id="72" creationId="{356FAF76-75C0-4939-ADA9-0D490880999E}"/>
          </ac:spMkLst>
        </pc:spChg>
        <pc:spChg chg="del">
          <ac:chgData name="Aurelien Domont" userId="6da7715ce44349b3" providerId="LiveId" clId="{365A8E39-D1EE-4FEE-9D5E-3CC57D750A89}" dt="2021-09-22T01:58:40.356" v="2414" actId="478"/>
          <ac:spMkLst>
            <pc:docMk/>
            <pc:sldMk cId="2346025138" sldId="2155"/>
            <ac:spMk id="73" creationId="{B3864B19-E169-4A43-AF2C-5611FA7E9D59}"/>
          </ac:spMkLst>
        </pc:spChg>
        <pc:spChg chg="del">
          <ac:chgData name="Aurelien Domont" userId="6da7715ce44349b3" providerId="LiveId" clId="{365A8E39-D1EE-4FEE-9D5E-3CC57D750A89}" dt="2021-09-22T01:58:40.356" v="2414" actId="478"/>
          <ac:spMkLst>
            <pc:docMk/>
            <pc:sldMk cId="2346025138" sldId="2155"/>
            <ac:spMk id="74" creationId="{835F7EF9-BE41-4A0C-9ED4-4810528F4D4B}"/>
          </ac:spMkLst>
        </pc:spChg>
        <pc:spChg chg="mod">
          <ac:chgData name="Aurelien Domont" userId="6da7715ce44349b3" providerId="LiveId" clId="{365A8E39-D1EE-4FEE-9D5E-3CC57D750A89}" dt="2021-09-22T01:57:28.225" v="2348" actId="1038"/>
          <ac:spMkLst>
            <pc:docMk/>
            <pc:sldMk cId="2346025138" sldId="2155"/>
            <ac:spMk id="75" creationId="{148419C5-5A4D-4B41-80B7-802D22B58DA4}"/>
          </ac:spMkLst>
        </pc:spChg>
        <pc:spChg chg="del">
          <ac:chgData name="Aurelien Domont" userId="6da7715ce44349b3" providerId="LiveId" clId="{365A8E39-D1EE-4FEE-9D5E-3CC57D750A89}" dt="2021-09-22T01:58:40.356" v="2414" actId="478"/>
          <ac:spMkLst>
            <pc:docMk/>
            <pc:sldMk cId="2346025138" sldId="2155"/>
            <ac:spMk id="76" creationId="{B37DF318-0EF0-459D-9F3D-9BB86BE04329}"/>
          </ac:spMkLst>
        </pc:spChg>
        <pc:spChg chg="del">
          <ac:chgData name="Aurelien Domont" userId="6da7715ce44349b3" providerId="LiveId" clId="{365A8E39-D1EE-4FEE-9D5E-3CC57D750A89}" dt="2021-09-22T01:58:40.356" v="2414" actId="478"/>
          <ac:spMkLst>
            <pc:docMk/>
            <pc:sldMk cId="2346025138" sldId="2155"/>
            <ac:spMk id="77" creationId="{5C24003C-A900-41E6-B1F4-92F48D5F71E5}"/>
          </ac:spMkLst>
        </pc:spChg>
        <pc:spChg chg="del">
          <ac:chgData name="Aurelien Domont" userId="6da7715ce44349b3" providerId="LiveId" clId="{365A8E39-D1EE-4FEE-9D5E-3CC57D750A89}" dt="2021-09-22T01:58:40.356" v="2414" actId="478"/>
          <ac:spMkLst>
            <pc:docMk/>
            <pc:sldMk cId="2346025138" sldId="2155"/>
            <ac:spMk id="78" creationId="{5B26BF6D-FFE6-4879-928B-27676689DA01}"/>
          </ac:spMkLst>
        </pc:spChg>
        <pc:spChg chg="del">
          <ac:chgData name="Aurelien Domont" userId="6da7715ce44349b3" providerId="LiveId" clId="{365A8E39-D1EE-4FEE-9D5E-3CC57D750A89}" dt="2021-09-22T01:59:11.155" v="2421" actId="478"/>
          <ac:spMkLst>
            <pc:docMk/>
            <pc:sldMk cId="2346025138" sldId="2155"/>
            <ac:spMk id="79" creationId="{E21B820B-4427-467C-BDC8-75217055A5A0}"/>
          </ac:spMkLst>
        </pc:spChg>
        <pc:cxnChg chg="add">
          <ac:chgData name="Aurelien Domont" userId="6da7715ce44349b3" providerId="LiveId" clId="{365A8E39-D1EE-4FEE-9D5E-3CC57D750A89}" dt="2021-09-22T01:57:44.345" v="2351" actId="11529"/>
          <ac:cxnSpMkLst>
            <pc:docMk/>
            <pc:sldMk cId="2346025138" sldId="2155"/>
            <ac:cxnSpMk id="7" creationId="{DABBC2E8-6732-478C-9E7A-4987F26DD43E}"/>
          </ac:cxnSpMkLst>
        </pc:cxnChg>
        <pc:cxnChg chg="add">
          <ac:chgData name="Aurelien Domont" userId="6da7715ce44349b3" providerId="LiveId" clId="{365A8E39-D1EE-4FEE-9D5E-3CC57D750A89}" dt="2021-09-22T01:58:17.835" v="2410" actId="11529"/>
          <ac:cxnSpMkLst>
            <pc:docMk/>
            <pc:sldMk cId="2346025138" sldId="2155"/>
            <ac:cxnSpMk id="10" creationId="{88877563-035C-43DF-88E3-104CDB21BEDA}"/>
          </ac:cxnSpMkLst>
        </pc:cxnChg>
        <pc:cxnChg chg="add">
          <ac:chgData name="Aurelien Domont" userId="6da7715ce44349b3" providerId="LiveId" clId="{365A8E39-D1EE-4FEE-9D5E-3CC57D750A89}" dt="2021-09-22T01:58:24.657" v="2411" actId="11529"/>
          <ac:cxnSpMkLst>
            <pc:docMk/>
            <pc:sldMk cId="2346025138" sldId="2155"/>
            <ac:cxnSpMk id="19" creationId="{1E1BB265-204D-48CD-8417-F2E29DD8A4DE}"/>
          </ac:cxnSpMkLst>
        </pc:cxnChg>
        <pc:cxnChg chg="add">
          <ac:chgData name="Aurelien Domont" userId="6da7715ce44349b3" providerId="LiveId" clId="{365A8E39-D1EE-4FEE-9D5E-3CC57D750A89}" dt="2021-09-22T01:58:30.273" v="2412" actId="11529"/>
          <ac:cxnSpMkLst>
            <pc:docMk/>
            <pc:sldMk cId="2346025138" sldId="2155"/>
            <ac:cxnSpMk id="21" creationId="{D154A802-4835-4D88-9903-1A36D5081DF9}"/>
          </ac:cxnSpMkLst>
        </pc:cxnChg>
        <pc:cxnChg chg="add">
          <ac:chgData name="Aurelien Domont" userId="6da7715ce44349b3" providerId="LiveId" clId="{365A8E39-D1EE-4FEE-9D5E-3CC57D750A89}" dt="2021-09-22T01:58:36.193" v="2413" actId="11529"/>
          <ac:cxnSpMkLst>
            <pc:docMk/>
            <pc:sldMk cId="2346025138" sldId="2155"/>
            <ac:cxnSpMk id="23" creationId="{01446384-8B5F-4151-B787-802A516950C8}"/>
          </ac:cxnSpMkLst>
        </pc:cxnChg>
        <pc:cxnChg chg="add">
          <ac:chgData name="Aurelien Domont" userId="6da7715ce44349b3" providerId="LiveId" clId="{365A8E39-D1EE-4FEE-9D5E-3CC57D750A89}" dt="2021-09-22T01:58:57.371" v="2418" actId="11529"/>
          <ac:cxnSpMkLst>
            <pc:docMk/>
            <pc:sldMk cId="2346025138" sldId="2155"/>
            <ac:cxnSpMk id="28" creationId="{2A6CCBAA-CDCD-41DD-9DB5-F0623497FFC2}"/>
          </ac:cxnSpMkLst>
        </pc:cxnChg>
        <pc:cxnChg chg="add">
          <ac:chgData name="Aurelien Domont" userId="6da7715ce44349b3" providerId="LiveId" clId="{365A8E39-D1EE-4FEE-9D5E-3CC57D750A89}" dt="2021-09-22T01:59:02.869" v="2419" actId="11529"/>
          <ac:cxnSpMkLst>
            <pc:docMk/>
            <pc:sldMk cId="2346025138" sldId="2155"/>
            <ac:cxnSpMk id="34" creationId="{7D2763CA-1AA8-489B-B90A-AFAA5DECD4F6}"/>
          </ac:cxnSpMkLst>
        </pc:cxnChg>
        <pc:cxnChg chg="add">
          <ac:chgData name="Aurelien Domont" userId="6da7715ce44349b3" providerId="LiveId" clId="{365A8E39-D1EE-4FEE-9D5E-3CC57D750A89}" dt="2021-09-22T01:59:09.019" v="2420" actId="11529"/>
          <ac:cxnSpMkLst>
            <pc:docMk/>
            <pc:sldMk cId="2346025138" sldId="2155"/>
            <ac:cxnSpMk id="36" creationId="{9E75588D-E16E-4B0F-94D8-A9FB738E4472}"/>
          </ac:cxnSpMkLst>
        </pc:cxnChg>
        <pc:cxnChg chg="del mod">
          <ac:chgData name="Aurelien Domont" userId="6da7715ce44349b3" providerId="LiveId" clId="{365A8E39-D1EE-4FEE-9D5E-3CC57D750A89}" dt="2021-09-22T01:55:44.605" v="2297" actId="478"/>
          <ac:cxnSpMkLst>
            <pc:docMk/>
            <pc:sldMk cId="2346025138" sldId="2155"/>
            <ac:cxnSpMk id="57" creationId="{BA4F90BE-6824-4CFE-B275-CF178B87FCF5}"/>
          </ac:cxnSpMkLst>
        </pc:cxnChg>
        <pc:cxnChg chg="mod">
          <ac:chgData name="Aurelien Domont" userId="6da7715ce44349b3" providerId="LiveId" clId="{365A8E39-D1EE-4FEE-9D5E-3CC57D750A89}" dt="2021-09-22T01:57:34.210" v="2350" actId="1037"/>
          <ac:cxnSpMkLst>
            <pc:docMk/>
            <pc:sldMk cId="2346025138" sldId="2155"/>
            <ac:cxnSpMk id="61" creationId="{CCBBD65B-F898-4CA7-913E-E53A25D29E0A}"/>
          </ac:cxnSpMkLst>
        </pc:cxnChg>
        <pc:cxnChg chg="del mod">
          <ac:chgData name="Aurelien Domont" userId="6da7715ce44349b3" providerId="LiveId" clId="{365A8E39-D1EE-4FEE-9D5E-3CC57D750A89}" dt="2021-09-22T01:55:44.605" v="2297" actId="478"/>
          <ac:cxnSpMkLst>
            <pc:docMk/>
            <pc:sldMk cId="2346025138" sldId="2155"/>
            <ac:cxnSpMk id="80" creationId="{1D974ED0-C4BC-42F8-B795-D78037E6DE52}"/>
          </ac:cxnSpMkLst>
        </pc:cxnChg>
      </pc:sldChg>
      <pc:sldChg chg="modSp add mod">
        <pc:chgData name="Aurelien Domont" userId="6da7715ce44349b3" providerId="LiveId" clId="{365A8E39-D1EE-4FEE-9D5E-3CC57D750A89}" dt="2021-09-22T05:51:47.772" v="3396" actId="20577"/>
        <pc:sldMkLst>
          <pc:docMk/>
          <pc:sldMk cId="1479295029" sldId="2156"/>
        </pc:sldMkLst>
        <pc:spChg chg="mod">
          <ac:chgData name="Aurelien Domont" userId="6da7715ce44349b3" providerId="LiveId" clId="{365A8E39-D1EE-4FEE-9D5E-3CC57D750A89}" dt="2021-09-22T05:48:06.257" v="3253" actId="20577"/>
          <ac:spMkLst>
            <pc:docMk/>
            <pc:sldMk cId="1479295029" sldId="2156"/>
            <ac:spMk id="6" creationId="{58640601-4D44-4B49-A731-7641730D8799}"/>
          </ac:spMkLst>
        </pc:spChg>
        <pc:spChg chg="mod">
          <ac:chgData name="Aurelien Domont" userId="6da7715ce44349b3" providerId="LiveId" clId="{365A8E39-D1EE-4FEE-9D5E-3CC57D750A89}" dt="2021-09-22T02:01:28.755" v="2427" actId="20577"/>
          <ac:spMkLst>
            <pc:docMk/>
            <pc:sldMk cId="1479295029" sldId="2156"/>
            <ac:spMk id="16" creationId="{6C2BB713-9637-4B9B-938F-E9768876782A}"/>
          </ac:spMkLst>
        </pc:spChg>
        <pc:spChg chg="mod">
          <ac:chgData name="Aurelien Domont" userId="6da7715ce44349b3" providerId="LiveId" clId="{365A8E39-D1EE-4FEE-9D5E-3CC57D750A89}" dt="2021-09-22T03:29:13.829" v="3136" actId="20577"/>
          <ac:spMkLst>
            <pc:docMk/>
            <pc:sldMk cId="1479295029" sldId="2156"/>
            <ac:spMk id="24" creationId="{65ED58C9-C893-412C-A89A-0D2078927765}"/>
          </ac:spMkLst>
        </pc:spChg>
        <pc:spChg chg="mod">
          <ac:chgData name="Aurelien Domont" userId="6da7715ce44349b3" providerId="LiveId" clId="{365A8E39-D1EE-4FEE-9D5E-3CC57D750A89}" dt="2021-09-22T05:46:56.453" v="3251" actId="20577"/>
          <ac:spMkLst>
            <pc:docMk/>
            <pc:sldMk cId="1479295029" sldId="2156"/>
            <ac:spMk id="26" creationId="{0F2E6CC3-2425-4F18-BF55-995AAC49BDEC}"/>
          </ac:spMkLst>
        </pc:spChg>
        <pc:spChg chg="mod">
          <ac:chgData name="Aurelien Domont" userId="6da7715ce44349b3" providerId="LiveId" clId="{365A8E39-D1EE-4FEE-9D5E-3CC57D750A89}" dt="2021-09-22T05:49:53.227" v="3316" actId="20577"/>
          <ac:spMkLst>
            <pc:docMk/>
            <pc:sldMk cId="1479295029" sldId="2156"/>
            <ac:spMk id="28" creationId="{EC8720D3-8207-4B1C-913F-0D3EC2ECFB2B}"/>
          </ac:spMkLst>
        </pc:spChg>
        <pc:spChg chg="mod">
          <ac:chgData name="Aurelien Domont" userId="6da7715ce44349b3" providerId="LiveId" clId="{365A8E39-D1EE-4FEE-9D5E-3CC57D750A89}" dt="2021-09-22T05:51:47.772" v="3396" actId="20577"/>
          <ac:spMkLst>
            <pc:docMk/>
            <pc:sldMk cId="1479295029" sldId="2156"/>
            <ac:spMk id="30" creationId="{1F2E2D8A-2BD9-4E56-AD54-2E76B8B40303}"/>
          </ac:spMkLst>
        </pc:spChg>
        <pc:spChg chg="mod">
          <ac:chgData name="Aurelien Domont" userId="6da7715ce44349b3" providerId="LiveId" clId="{365A8E39-D1EE-4FEE-9D5E-3CC57D750A89}" dt="2021-09-22T05:48:09.924" v="3255" actId="20577"/>
          <ac:spMkLst>
            <pc:docMk/>
            <pc:sldMk cId="1479295029" sldId="2156"/>
            <ac:spMk id="31" creationId="{92591DBB-98EC-493C-A852-F0EFB804075A}"/>
          </ac:spMkLst>
        </pc:spChg>
        <pc:spChg chg="mod">
          <ac:chgData name="Aurelien Domont" userId="6da7715ce44349b3" providerId="LiveId" clId="{365A8E39-D1EE-4FEE-9D5E-3CC57D750A89}" dt="2021-09-22T03:26:02.310" v="2965" actId="20577"/>
          <ac:spMkLst>
            <pc:docMk/>
            <pc:sldMk cId="1479295029" sldId="2156"/>
            <ac:spMk id="32" creationId="{E2D2C2F5-DA73-4151-9A73-5F844F4A5E2A}"/>
          </ac:spMkLst>
        </pc:spChg>
        <pc:spChg chg="mod">
          <ac:chgData name="Aurelien Domont" userId="6da7715ce44349b3" providerId="LiveId" clId="{365A8E39-D1EE-4FEE-9D5E-3CC57D750A89}" dt="2021-09-22T03:30:36.626" v="3163" actId="20577"/>
          <ac:spMkLst>
            <pc:docMk/>
            <pc:sldMk cId="1479295029" sldId="2156"/>
            <ac:spMk id="33" creationId="{FF52AD10-B87D-42B7-BC46-3E3BA92DD759}"/>
          </ac:spMkLst>
        </pc:spChg>
        <pc:spChg chg="mod">
          <ac:chgData name="Aurelien Domont" userId="6da7715ce44349b3" providerId="LiveId" clId="{365A8E39-D1EE-4FEE-9D5E-3CC57D750A89}" dt="2021-09-22T05:50:01.711" v="3321" actId="20577"/>
          <ac:spMkLst>
            <pc:docMk/>
            <pc:sldMk cId="1479295029" sldId="2156"/>
            <ac:spMk id="34" creationId="{8298234B-3021-44DF-8D5D-F615B16AD5EC}"/>
          </ac:spMkLst>
        </pc:spChg>
        <pc:spChg chg="mod">
          <ac:chgData name="Aurelien Domont" userId="6da7715ce44349b3" providerId="LiveId" clId="{365A8E39-D1EE-4FEE-9D5E-3CC57D750A89}" dt="2021-09-22T05:51:06.461" v="3356" actId="20577"/>
          <ac:spMkLst>
            <pc:docMk/>
            <pc:sldMk cId="1479295029" sldId="2156"/>
            <ac:spMk id="35" creationId="{C4C1607E-5DDE-476E-957E-58ACEBC90CCC}"/>
          </ac:spMkLst>
        </pc:spChg>
      </pc:sldChg>
      <pc:sldChg chg="del">
        <pc:chgData name="Aurelien Domont" userId="6da7715ce44349b3" providerId="LiveId" clId="{365A8E39-D1EE-4FEE-9D5E-3CC57D750A89}" dt="2021-09-22T00:29:46.170" v="463" actId="47"/>
        <pc:sldMkLst>
          <pc:docMk/>
          <pc:sldMk cId="1424356935" sldId="2172"/>
        </pc:sldMkLst>
      </pc:sldChg>
      <pc:sldChg chg="del">
        <pc:chgData name="Aurelien Domont" userId="6da7715ce44349b3" providerId="LiveId" clId="{365A8E39-D1EE-4FEE-9D5E-3CC57D750A89}" dt="2021-09-22T00:29:46.170" v="463" actId="47"/>
        <pc:sldMkLst>
          <pc:docMk/>
          <pc:sldMk cId="3261568431" sldId="2173"/>
        </pc:sldMkLst>
      </pc:sldChg>
      <pc:sldChg chg="del">
        <pc:chgData name="Aurelien Domont" userId="6da7715ce44349b3" providerId="LiveId" clId="{365A8E39-D1EE-4FEE-9D5E-3CC57D750A89}" dt="2021-09-22T00:29:46.170" v="463" actId="47"/>
        <pc:sldMkLst>
          <pc:docMk/>
          <pc:sldMk cId="1382332683" sldId="2174"/>
        </pc:sldMkLst>
      </pc:sldChg>
      <pc:sldChg chg="del">
        <pc:chgData name="Aurelien Domont" userId="6da7715ce44349b3" providerId="LiveId" clId="{365A8E39-D1EE-4FEE-9D5E-3CC57D750A89}" dt="2021-09-22T00:29:46.170" v="463" actId="47"/>
        <pc:sldMkLst>
          <pc:docMk/>
          <pc:sldMk cId="2769929965" sldId="2175"/>
        </pc:sldMkLst>
      </pc:sldChg>
      <pc:sldChg chg="addSp delSp modSp mod">
        <pc:chgData name="Aurelien Domont" userId="6da7715ce44349b3" providerId="LiveId" clId="{365A8E39-D1EE-4FEE-9D5E-3CC57D750A89}" dt="2021-09-22T00:13:12.572" v="129"/>
        <pc:sldMkLst>
          <pc:docMk/>
          <pc:sldMk cId="1110778063" sldId="2183"/>
        </pc:sldMkLst>
        <pc:spChg chg="del">
          <ac:chgData name="Aurelien Domont" userId="6da7715ce44349b3" providerId="LiveId" clId="{365A8E39-D1EE-4FEE-9D5E-3CC57D750A89}" dt="2021-09-21T23:57:57.355" v="17" actId="478"/>
          <ac:spMkLst>
            <pc:docMk/>
            <pc:sldMk cId="1110778063" sldId="2183"/>
            <ac:spMk id="14" creationId="{36A26ACC-668A-45EB-AB81-A5D2319F44E0}"/>
          </ac:spMkLst>
        </pc:spChg>
        <pc:spChg chg="add mod">
          <ac:chgData name="Aurelien Domont" userId="6da7715ce44349b3" providerId="LiveId" clId="{365A8E39-D1EE-4FEE-9D5E-3CC57D750A89}" dt="2021-09-21T23:58:05.230" v="18"/>
          <ac:spMkLst>
            <pc:docMk/>
            <pc:sldMk cId="1110778063" sldId="2183"/>
            <ac:spMk id="15" creationId="{2A81C16F-CC22-4A25-B117-CEC9F23C11D8}"/>
          </ac:spMkLst>
        </pc:spChg>
        <pc:spChg chg="mod">
          <ac:chgData name="Aurelien Domont" userId="6da7715ce44349b3" providerId="LiveId" clId="{365A8E39-D1EE-4FEE-9D5E-3CC57D750A89}" dt="2021-09-21T23:57:49.096" v="16" actId="20577"/>
          <ac:spMkLst>
            <pc:docMk/>
            <pc:sldMk cId="1110778063" sldId="2183"/>
            <ac:spMk id="16" creationId="{6C2BB713-9637-4B9B-938F-E9768876782A}"/>
          </ac:spMkLst>
        </pc:spChg>
        <pc:spChg chg="add mod">
          <ac:chgData name="Aurelien Domont" userId="6da7715ce44349b3" providerId="LiveId" clId="{365A8E39-D1EE-4FEE-9D5E-3CC57D750A89}" dt="2021-09-21T23:58:05.230" v="18"/>
          <ac:spMkLst>
            <pc:docMk/>
            <pc:sldMk cId="1110778063" sldId="2183"/>
            <ac:spMk id="17" creationId="{0612994F-4C0F-46A7-8C83-BD53F448356F}"/>
          </ac:spMkLst>
        </pc:spChg>
        <pc:spChg chg="del">
          <ac:chgData name="Aurelien Domont" userId="6da7715ce44349b3" providerId="LiveId" clId="{365A8E39-D1EE-4FEE-9D5E-3CC57D750A89}" dt="2021-09-21T23:57:57.355" v="17" actId="478"/>
          <ac:spMkLst>
            <pc:docMk/>
            <pc:sldMk cId="1110778063" sldId="2183"/>
            <ac:spMk id="18" creationId="{9A832821-28E7-48AC-A8A2-089BEA8CDC39}"/>
          </ac:spMkLst>
        </pc:spChg>
        <pc:spChg chg="del">
          <ac:chgData name="Aurelien Domont" userId="6da7715ce44349b3" providerId="LiveId" clId="{365A8E39-D1EE-4FEE-9D5E-3CC57D750A89}" dt="2021-09-21T23:57:57.355" v="17" actId="478"/>
          <ac:spMkLst>
            <pc:docMk/>
            <pc:sldMk cId="1110778063" sldId="2183"/>
            <ac:spMk id="19" creationId="{F6B03F74-2EBD-489D-B3D9-985345DDBB2F}"/>
          </ac:spMkLst>
        </pc:spChg>
        <pc:spChg chg="add mod">
          <ac:chgData name="Aurelien Domont" userId="6da7715ce44349b3" providerId="LiveId" clId="{365A8E39-D1EE-4FEE-9D5E-3CC57D750A89}" dt="2021-09-21T23:58:05.230" v="18"/>
          <ac:spMkLst>
            <pc:docMk/>
            <pc:sldMk cId="1110778063" sldId="2183"/>
            <ac:spMk id="20" creationId="{694578FB-0D1F-4AB2-BDF6-6965DE3EA45D}"/>
          </ac:spMkLst>
        </pc:spChg>
        <pc:spChg chg="add mod">
          <ac:chgData name="Aurelien Domont" userId="6da7715ce44349b3" providerId="LiveId" clId="{365A8E39-D1EE-4FEE-9D5E-3CC57D750A89}" dt="2021-09-21T23:58:05.230" v="18"/>
          <ac:spMkLst>
            <pc:docMk/>
            <pc:sldMk cId="1110778063" sldId="2183"/>
            <ac:spMk id="21" creationId="{78553F3C-B34A-44DC-8F4A-FA9996E804C0}"/>
          </ac:spMkLst>
        </pc:spChg>
        <pc:spChg chg="add mod">
          <ac:chgData name="Aurelien Domont" userId="6da7715ce44349b3" providerId="LiveId" clId="{365A8E39-D1EE-4FEE-9D5E-3CC57D750A89}" dt="2021-09-21T23:58:05.230" v="18"/>
          <ac:spMkLst>
            <pc:docMk/>
            <pc:sldMk cId="1110778063" sldId="2183"/>
            <ac:spMk id="22" creationId="{53022067-A1B7-454B-9F78-6FB2CB988552}"/>
          </ac:spMkLst>
        </pc:spChg>
        <pc:spChg chg="add mod">
          <ac:chgData name="Aurelien Domont" userId="6da7715ce44349b3" providerId="LiveId" clId="{365A8E39-D1EE-4FEE-9D5E-3CC57D750A89}" dt="2021-09-22T00:01:02.835" v="92" actId="207"/>
          <ac:spMkLst>
            <pc:docMk/>
            <pc:sldMk cId="1110778063" sldId="2183"/>
            <ac:spMk id="24" creationId="{8BB249CC-737E-40A7-A0D4-49F800240E40}"/>
          </ac:spMkLst>
        </pc:spChg>
        <pc:spChg chg="del">
          <ac:chgData name="Aurelien Domont" userId="6da7715ce44349b3" providerId="LiveId" clId="{365A8E39-D1EE-4FEE-9D5E-3CC57D750A89}" dt="2021-09-21T23:57:57.355" v="17" actId="478"/>
          <ac:spMkLst>
            <pc:docMk/>
            <pc:sldMk cId="1110778063" sldId="2183"/>
            <ac:spMk id="26" creationId="{C340F2EE-BA16-482F-BFE4-F0465F9C2085}"/>
          </ac:spMkLst>
        </pc:spChg>
        <pc:spChg chg="del">
          <ac:chgData name="Aurelien Domont" userId="6da7715ce44349b3" providerId="LiveId" clId="{365A8E39-D1EE-4FEE-9D5E-3CC57D750A89}" dt="2021-09-21T23:57:57.355" v="17" actId="478"/>
          <ac:spMkLst>
            <pc:docMk/>
            <pc:sldMk cId="1110778063" sldId="2183"/>
            <ac:spMk id="27" creationId="{BE7FA4F0-3C49-4DE0-BDCC-49225B7F31CF}"/>
          </ac:spMkLst>
        </pc:spChg>
        <pc:spChg chg="del">
          <ac:chgData name="Aurelien Domont" userId="6da7715ce44349b3" providerId="LiveId" clId="{365A8E39-D1EE-4FEE-9D5E-3CC57D750A89}" dt="2021-09-21T23:57:57.355" v="17" actId="478"/>
          <ac:spMkLst>
            <pc:docMk/>
            <pc:sldMk cId="1110778063" sldId="2183"/>
            <ac:spMk id="29" creationId="{EBEF7E50-77EE-4FFC-9C8F-5F1C532B51AE}"/>
          </ac:spMkLst>
        </pc:spChg>
        <pc:spChg chg="add mod">
          <ac:chgData name="Aurelien Domont" userId="6da7715ce44349b3" providerId="LiveId" clId="{365A8E39-D1EE-4FEE-9D5E-3CC57D750A89}" dt="2021-09-22T00:13:12.572" v="129"/>
          <ac:spMkLst>
            <pc:docMk/>
            <pc:sldMk cId="1110778063" sldId="2183"/>
            <ac:spMk id="35" creationId="{32CD15F6-7334-4EFC-BEBC-0AA3A5ED870E}"/>
          </ac:spMkLst>
        </pc:spChg>
        <pc:spChg chg="add mod">
          <ac:chgData name="Aurelien Domont" userId="6da7715ce44349b3" providerId="LiveId" clId="{365A8E39-D1EE-4FEE-9D5E-3CC57D750A89}" dt="2021-09-21T23:58:05.230" v="18"/>
          <ac:spMkLst>
            <pc:docMk/>
            <pc:sldMk cId="1110778063" sldId="2183"/>
            <ac:spMk id="36" creationId="{9FDDE490-4E5E-4CC7-9B62-24A2AE550D99}"/>
          </ac:spMkLst>
        </pc:spChg>
        <pc:spChg chg="add mod">
          <ac:chgData name="Aurelien Domont" userId="6da7715ce44349b3" providerId="LiveId" clId="{365A8E39-D1EE-4FEE-9D5E-3CC57D750A89}" dt="2021-09-21T23:58:42.599" v="30" actId="20577"/>
          <ac:spMkLst>
            <pc:docMk/>
            <pc:sldMk cId="1110778063" sldId="2183"/>
            <ac:spMk id="37" creationId="{D806B388-9BB0-42EC-B26F-E83645BCF996}"/>
          </ac:spMkLst>
        </pc:spChg>
        <pc:spChg chg="add mod">
          <ac:chgData name="Aurelien Domont" userId="6da7715ce44349b3" providerId="LiveId" clId="{365A8E39-D1EE-4FEE-9D5E-3CC57D750A89}" dt="2021-09-21T23:58:05.230" v="18"/>
          <ac:spMkLst>
            <pc:docMk/>
            <pc:sldMk cId="1110778063" sldId="2183"/>
            <ac:spMk id="38" creationId="{DE83091C-D708-4C05-8EE4-A8A01069803B}"/>
          </ac:spMkLst>
        </pc:spChg>
        <pc:spChg chg="add mod">
          <ac:chgData name="Aurelien Domont" userId="6da7715ce44349b3" providerId="LiveId" clId="{365A8E39-D1EE-4FEE-9D5E-3CC57D750A89}" dt="2021-09-21T23:58:05.230" v="18"/>
          <ac:spMkLst>
            <pc:docMk/>
            <pc:sldMk cId="1110778063" sldId="2183"/>
            <ac:spMk id="39" creationId="{9285E603-4312-4F5A-B1EB-1A8D74E2221B}"/>
          </ac:spMkLst>
        </pc:spChg>
        <pc:spChg chg="add mod">
          <ac:chgData name="Aurelien Domont" userId="6da7715ce44349b3" providerId="LiveId" clId="{365A8E39-D1EE-4FEE-9D5E-3CC57D750A89}" dt="2021-09-21T23:59:01.862" v="91" actId="20577"/>
          <ac:spMkLst>
            <pc:docMk/>
            <pc:sldMk cId="1110778063" sldId="2183"/>
            <ac:spMk id="40" creationId="{EAF5868B-382A-43AD-B3A1-1A535E83837F}"/>
          </ac:spMkLst>
        </pc:spChg>
        <pc:spChg chg="add del mod ord">
          <ac:chgData name="Aurelien Domont" userId="6da7715ce44349b3" providerId="LiveId" clId="{365A8E39-D1EE-4FEE-9D5E-3CC57D750A89}" dt="2021-09-22T00:01:30.404" v="97" actId="478"/>
          <ac:spMkLst>
            <pc:docMk/>
            <pc:sldMk cId="1110778063" sldId="2183"/>
            <ac:spMk id="41" creationId="{AA1C4C18-1E9E-4B7F-B309-F593B5A5B73A}"/>
          </ac:spMkLst>
        </pc:spChg>
        <pc:picChg chg="add mod">
          <ac:chgData name="Aurelien Domont" userId="6da7715ce44349b3" providerId="LiveId" clId="{365A8E39-D1EE-4FEE-9D5E-3CC57D750A89}" dt="2021-09-21T23:58:05.230" v="18"/>
          <ac:picMkLst>
            <pc:docMk/>
            <pc:sldMk cId="1110778063" sldId="2183"/>
            <ac:picMk id="25" creationId="{3E48B280-594D-4FB1-B252-D4F6C193496A}"/>
          </ac:picMkLst>
        </pc:picChg>
        <pc:picChg chg="add mod">
          <ac:chgData name="Aurelien Domont" userId="6da7715ce44349b3" providerId="LiveId" clId="{365A8E39-D1EE-4FEE-9D5E-3CC57D750A89}" dt="2021-09-21T23:58:05.230" v="18"/>
          <ac:picMkLst>
            <pc:docMk/>
            <pc:sldMk cId="1110778063" sldId="2183"/>
            <ac:picMk id="28" creationId="{F40B3C19-B651-4036-A19F-480ECEDD0BEA}"/>
          </ac:picMkLst>
        </pc:picChg>
        <pc:picChg chg="add mod">
          <ac:chgData name="Aurelien Domont" userId="6da7715ce44349b3" providerId="LiveId" clId="{365A8E39-D1EE-4FEE-9D5E-3CC57D750A89}" dt="2021-09-21T23:58:05.230" v="18"/>
          <ac:picMkLst>
            <pc:docMk/>
            <pc:sldMk cId="1110778063" sldId="2183"/>
            <ac:picMk id="31" creationId="{DC553BE9-8D0D-4610-ADD3-CD2E43B35308}"/>
          </ac:picMkLst>
        </pc:picChg>
        <pc:picChg chg="add mod">
          <ac:chgData name="Aurelien Domont" userId="6da7715ce44349b3" providerId="LiveId" clId="{365A8E39-D1EE-4FEE-9D5E-3CC57D750A89}" dt="2021-09-21T23:58:05.230" v="18"/>
          <ac:picMkLst>
            <pc:docMk/>
            <pc:sldMk cId="1110778063" sldId="2183"/>
            <ac:picMk id="32" creationId="{AEE2B5AC-D136-4C1E-8747-B3D879077EF5}"/>
          </ac:picMkLst>
        </pc:picChg>
        <pc:picChg chg="add mod">
          <ac:chgData name="Aurelien Domont" userId="6da7715ce44349b3" providerId="LiveId" clId="{365A8E39-D1EE-4FEE-9D5E-3CC57D750A89}" dt="2021-09-21T23:58:05.230" v="18"/>
          <ac:picMkLst>
            <pc:docMk/>
            <pc:sldMk cId="1110778063" sldId="2183"/>
            <ac:picMk id="33" creationId="{3C0FEB8A-33E0-46C0-9F51-2127C8FB5F08}"/>
          </ac:picMkLst>
        </pc:picChg>
        <pc:picChg chg="add mod">
          <ac:chgData name="Aurelien Domont" userId="6da7715ce44349b3" providerId="LiveId" clId="{365A8E39-D1EE-4FEE-9D5E-3CC57D750A89}" dt="2021-09-21T23:58:05.230" v="18"/>
          <ac:picMkLst>
            <pc:docMk/>
            <pc:sldMk cId="1110778063" sldId="2183"/>
            <ac:picMk id="34" creationId="{6F58A75D-CBCA-410B-BC60-E57C1A43A775}"/>
          </ac:picMkLst>
        </pc:picChg>
        <pc:cxnChg chg="del">
          <ac:chgData name="Aurelien Domont" userId="6da7715ce44349b3" providerId="LiveId" clId="{365A8E39-D1EE-4FEE-9D5E-3CC57D750A89}" dt="2021-09-21T23:57:57.355" v="17" actId="478"/>
          <ac:cxnSpMkLst>
            <pc:docMk/>
            <pc:sldMk cId="1110778063" sldId="2183"/>
            <ac:cxnSpMk id="23" creationId="{9524914C-01E2-4876-AA5F-45B90B2C700C}"/>
          </ac:cxnSpMkLst>
        </pc:cxnChg>
        <pc:cxnChg chg="del">
          <ac:chgData name="Aurelien Domont" userId="6da7715ce44349b3" providerId="LiveId" clId="{365A8E39-D1EE-4FEE-9D5E-3CC57D750A89}" dt="2021-09-21T23:57:57.355" v="17" actId="478"/>
          <ac:cxnSpMkLst>
            <pc:docMk/>
            <pc:sldMk cId="1110778063" sldId="2183"/>
            <ac:cxnSpMk id="30" creationId="{9E0C0224-1FC0-455B-98BE-E51330CE79E6}"/>
          </ac:cxnSpMkLst>
        </pc:cxnChg>
      </pc:sldChg>
      <pc:sldChg chg="add del">
        <pc:chgData name="Aurelien Domont" userId="6da7715ce44349b3" providerId="LiveId" clId="{365A8E39-D1EE-4FEE-9D5E-3CC57D750A89}" dt="2021-09-22T00:02:42.740" v="103" actId="47"/>
        <pc:sldMkLst>
          <pc:docMk/>
          <pc:sldMk cId="2338111145" sldId="2213"/>
        </pc:sldMkLst>
      </pc:sldChg>
      <pc:sldChg chg="del">
        <pc:chgData name="Aurelien Domont" userId="6da7715ce44349b3" providerId="LiveId" clId="{365A8E39-D1EE-4FEE-9D5E-3CC57D750A89}" dt="2021-09-22T00:25:56.071" v="394" actId="47"/>
        <pc:sldMkLst>
          <pc:docMk/>
          <pc:sldMk cId="3381246474" sldId="2214"/>
        </pc:sldMkLst>
      </pc:sldChg>
      <pc:sldChg chg="del">
        <pc:chgData name="Aurelien Domont" userId="6da7715ce44349b3" providerId="LiveId" clId="{365A8E39-D1EE-4FEE-9D5E-3CC57D750A89}" dt="2021-09-22T00:25:46.861" v="392" actId="47"/>
        <pc:sldMkLst>
          <pc:docMk/>
          <pc:sldMk cId="1932670553" sldId="2215"/>
        </pc:sldMkLst>
      </pc:sldChg>
      <pc:sldChg chg="del">
        <pc:chgData name="Aurelien Domont" userId="6da7715ce44349b3" providerId="LiveId" clId="{365A8E39-D1EE-4FEE-9D5E-3CC57D750A89}" dt="2021-09-22T00:59:30.234" v="467" actId="47"/>
        <pc:sldMkLst>
          <pc:docMk/>
          <pc:sldMk cId="3733348164" sldId="2217"/>
        </pc:sldMkLst>
      </pc:sldChg>
      <pc:sldChg chg="del">
        <pc:chgData name="Aurelien Domont" userId="6da7715ce44349b3" providerId="LiveId" clId="{365A8E39-D1EE-4FEE-9D5E-3CC57D750A89}" dt="2021-09-22T00:29:46.170" v="463" actId="47"/>
        <pc:sldMkLst>
          <pc:docMk/>
          <pc:sldMk cId="2972339496" sldId="2218"/>
        </pc:sldMkLst>
      </pc:sldChg>
      <pc:sldChg chg="del">
        <pc:chgData name="Aurelien Domont" userId="6da7715ce44349b3" providerId="LiveId" clId="{365A8E39-D1EE-4FEE-9D5E-3CC57D750A89}" dt="2021-09-22T00:29:46.170" v="463" actId="47"/>
        <pc:sldMkLst>
          <pc:docMk/>
          <pc:sldMk cId="424117394" sldId="2219"/>
        </pc:sldMkLst>
      </pc:sldChg>
      <pc:sldChg chg="del">
        <pc:chgData name="Aurelien Domont" userId="6da7715ce44349b3" providerId="LiveId" clId="{365A8E39-D1EE-4FEE-9D5E-3CC57D750A89}" dt="2021-09-22T00:29:46.170" v="463" actId="47"/>
        <pc:sldMkLst>
          <pc:docMk/>
          <pc:sldMk cId="4026207615" sldId="2220"/>
        </pc:sldMkLst>
      </pc:sldChg>
      <pc:sldChg chg="del">
        <pc:chgData name="Aurelien Domont" userId="6da7715ce44349b3" providerId="LiveId" clId="{365A8E39-D1EE-4FEE-9D5E-3CC57D750A89}" dt="2021-09-22T00:29:46.170" v="463" actId="47"/>
        <pc:sldMkLst>
          <pc:docMk/>
          <pc:sldMk cId="4272825816" sldId="2221"/>
        </pc:sldMkLst>
      </pc:sldChg>
      <pc:sldChg chg="del">
        <pc:chgData name="Aurelien Domont" userId="6da7715ce44349b3" providerId="LiveId" clId="{365A8E39-D1EE-4FEE-9D5E-3CC57D750A89}" dt="2021-09-22T00:29:46.170" v="463" actId="47"/>
        <pc:sldMkLst>
          <pc:docMk/>
          <pc:sldMk cId="282594511" sldId="2222"/>
        </pc:sldMkLst>
      </pc:sldChg>
      <pc:sldChg chg="del">
        <pc:chgData name="Aurelien Domont" userId="6da7715ce44349b3" providerId="LiveId" clId="{365A8E39-D1EE-4FEE-9D5E-3CC57D750A89}" dt="2021-09-22T00:29:46.170" v="463" actId="47"/>
        <pc:sldMkLst>
          <pc:docMk/>
          <pc:sldMk cId="551405068" sldId="2223"/>
        </pc:sldMkLst>
      </pc:sldChg>
      <pc:sldChg chg="del">
        <pc:chgData name="Aurelien Domont" userId="6da7715ce44349b3" providerId="LiveId" clId="{365A8E39-D1EE-4FEE-9D5E-3CC57D750A89}" dt="2021-09-22T00:29:46.170" v="463" actId="47"/>
        <pc:sldMkLst>
          <pc:docMk/>
          <pc:sldMk cId="1547606376" sldId="2224"/>
        </pc:sldMkLst>
      </pc:sldChg>
      <pc:sldChg chg="del">
        <pc:chgData name="Aurelien Domont" userId="6da7715ce44349b3" providerId="LiveId" clId="{365A8E39-D1EE-4FEE-9D5E-3CC57D750A89}" dt="2021-09-22T00:29:46.170" v="463" actId="47"/>
        <pc:sldMkLst>
          <pc:docMk/>
          <pc:sldMk cId="1940755133" sldId="2225"/>
        </pc:sldMkLst>
      </pc:sldChg>
      <pc:sldChg chg="del">
        <pc:chgData name="Aurelien Domont" userId="6da7715ce44349b3" providerId="LiveId" clId="{365A8E39-D1EE-4FEE-9D5E-3CC57D750A89}" dt="2021-09-22T00:29:46.170" v="463" actId="47"/>
        <pc:sldMkLst>
          <pc:docMk/>
          <pc:sldMk cId="442511861" sldId="2226"/>
        </pc:sldMkLst>
      </pc:sldChg>
      <pc:sldChg chg="del">
        <pc:chgData name="Aurelien Domont" userId="6da7715ce44349b3" providerId="LiveId" clId="{365A8E39-D1EE-4FEE-9D5E-3CC57D750A89}" dt="2021-09-22T00:29:46.170" v="463" actId="47"/>
        <pc:sldMkLst>
          <pc:docMk/>
          <pc:sldMk cId="1903717563" sldId="2227"/>
        </pc:sldMkLst>
      </pc:sldChg>
      <pc:sldChg chg="del">
        <pc:chgData name="Aurelien Domont" userId="6da7715ce44349b3" providerId="LiveId" clId="{365A8E39-D1EE-4FEE-9D5E-3CC57D750A89}" dt="2021-09-22T00:29:46.170" v="463" actId="47"/>
        <pc:sldMkLst>
          <pc:docMk/>
          <pc:sldMk cId="2961597679" sldId="2228"/>
        </pc:sldMkLst>
      </pc:sldChg>
      <pc:sldChg chg="del">
        <pc:chgData name="Aurelien Domont" userId="6da7715ce44349b3" providerId="LiveId" clId="{365A8E39-D1EE-4FEE-9D5E-3CC57D750A89}" dt="2021-09-22T00:29:46.170" v="463" actId="47"/>
        <pc:sldMkLst>
          <pc:docMk/>
          <pc:sldMk cId="3918513984" sldId="2229"/>
        </pc:sldMkLst>
      </pc:sldChg>
      <pc:sldChg chg="del">
        <pc:chgData name="Aurelien Domont" userId="6da7715ce44349b3" providerId="LiveId" clId="{365A8E39-D1EE-4FEE-9D5E-3CC57D750A89}" dt="2021-09-22T00:59:30.234" v="467" actId="47"/>
        <pc:sldMkLst>
          <pc:docMk/>
          <pc:sldMk cId="506849499" sldId="2230"/>
        </pc:sldMkLst>
      </pc:sldChg>
      <pc:sldChg chg="del">
        <pc:chgData name="Aurelien Domont" userId="6da7715ce44349b3" providerId="LiveId" clId="{365A8E39-D1EE-4FEE-9D5E-3CC57D750A89}" dt="2021-09-22T00:59:30.234" v="467" actId="47"/>
        <pc:sldMkLst>
          <pc:docMk/>
          <pc:sldMk cId="679090537" sldId="2232"/>
        </pc:sldMkLst>
      </pc:sldChg>
      <pc:sldChg chg="del">
        <pc:chgData name="Aurelien Domont" userId="6da7715ce44349b3" providerId="LiveId" clId="{365A8E39-D1EE-4FEE-9D5E-3CC57D750A89}" dt="2021-09-22T00:59:30.234" v="467" actId="47"/>
        <pc:sldMkLst>
          <pc:docMk/>
          <pc:sldMk cId="2582080201" sldId="2233"/>
        </pc:sldMkLst>
      </pc:sldChg>
      <pc:sldChg chg="del">
        <pc:chgData name="Aurelien Domont" userId="6da7715ce44349b3" providerId="LiveId" clId="{365A8E39-D1EE-4FEE-9D5E-3CC57D750A89}" dt="2021-09-22T00:29:46.170" v="463" actId="47"/>
        <pc:sldMkLst>
          <pc:docMk/>
          <pc:sldMk cId="444295267" sldId="2234"/>
        </pc:sldMkLst>
      </pc:sldChg>
      <pc:sldChg chg="del">
        <pc:chgData name="Aurelien Domont" userId="6da7715ce44349b3" providerId="LiveId" clId="{365A8E39-D1EE-4FEE-9D5E-3CC57D750A89}" dt="2021-09-22T00:29:46.170" v="463" actId="47"/>
        <pc:sldMkLst>
          <pc:docMk/>
          <pc:sldMk cId="4208125355" sldId="2235"/>
        </pc:sldMkLst>
      </pc:sldChg>
      <pc:sldChg chg="del">
        <pc:chgData name="Aurelien Domont" userId="6da7715ce44349b3" providerId="LiveId" clId="{365A8E39-D1EE-4FEE-9D5E-3CC57D750A89}" dt="2021-09-22T00:29:46.170" v="463" actId="47"/>
        <pc:sldMkLst>
          <pc:docMk/>
          <pc:sldMk cId="125127010" sldId="2236"/>
        </pc:sldMkLst>
      </pc:sldChg>
      <pc:sldChg chg="del">
        <pc:chgData name="Aurelien Domont" userId="6da7715ce44349b3" providerId="LiveId" clId="{365A8E39-D1EE-4FEE-9D5E-3CC57D750A89}" dt="2021-09-22T00:29:46.170" v="463" actId="47"/>
        <pc:sldMkLst>
          <pc:docMk/>
          <pc:sldMk cId="1299098436" sldId="2237"/>
        </pc:sldMkLst>
      </pc:sldChg>
      <pc:sldChg chg="del">
        <pc:chgData name="Aurelien Domont" userId="6da7715ce44349b3" providerId="LiveId" clId="{365A8E39-D1EE-4FEE-9D5E-3CC57D750A89}" dt="2021-09-22T00:27:55.323" v="397" actId="47"/>
        <pc:sldMkLst>
          <pc:docMk/>
          <pc:sldMk cId="678804434" sldId="2238"/>
        </pc:sldMkLst>
      </pc:sldChg>
      <pc:sldChg chg="del">
        <pc:chgData name="Aurelien Domont" userId="6da7715ce44349b3" providerId="LiveId" clId="{365A8E39-D1EE-4FEE-9D5E-3CC57D750A89}" dt="2021-09-22T00:59:30.234" v="467" actId="47"/>
        <pc:sldMkLst>
          <pc:docMk/>
          <pc:sldMk cId="49722598" sldId="2239"/>
        </pc:sldMkLst>
      </pc:sldChg>
      <pc:sldChg chg="modSp add mod">
        <pc:chgData name="Aurelien Domont" userId="6da7715ce44349b3" providerId="LiveId" clId="{365A8E39-D1EE-4FEE-9D5E-3CC57D750A89}" dt="2021-09-22T00:58:38.671" v="464"/>
        <pc:sldMkLst>
          <pc:docMk/>
          <pc:sldMk cId="4242968910" sldId="2241"/>
        </pc:sldMkLst>
        <pc:spChg chg="mod">
          <ac:chgData name="Aurelien Domont" userId="6da7715ce44349b3" providerId="LiveId" clId="{365A8E39-D1EE-4FEE-9D5E-3CC57D750A89}" dt="2021-09-22T00:58:38.671" v="464"/>
          <ac:spMkLst>
            <pc:docMk/>
            <pc:sldMk cId="4242968910" sldId="2241"/>
            <ac:spMk id="35" creationId="{32CD15F6-7334-4EFC-BEBC-0AA3A5ED870E}"/>
          </ac:spMkLst>
        </pc:spChg>
        <pc:spChg chg="mod">
          <ac:chgData name="Aurelien Domont" userId="6da7715ce44349b3" providerId="LiveId" clId="{365A8E39-D1EE-4FEE-9D5E-3CC57D750A89}" dt="2021-09-22T00:01:39.654" v="100" actId="14100"/>
          <ac:spMkLst>
            <pc:docMk/>
            <pc:sldMk cId="4242968910" sldId="2241"/>
            <ac:spMk id="41" creationId="{AA1C4C18-1E9E-4B7F-B309-F593B5A5B73A}"/>
          </ac:spMkLst>
        </pc:spChg>
      </pc:sldChg>
      <pc:sldChg chg="modSp add mod">
        <pc:chgData name="Aurelien Domont" userId="6da7715ce44349b3" providerId="LiveId" clId="{365A8E39-D1EE-4FEE-9D5E-3CC57D750A89}" dt="2021-09-22T00:58:49.552" v="466" actId="14100"/>
        <pc:sldMkLst>
          <pc:docMk/>
          <pc:sldMk cId="1666809826" sldId="2242"/>
        </pc:sldMkLst>
        <pc:spChg chg="mod">
          <ac:chgData name="Aurelien Domont" userId="6da7715ce44349b3" providerId="LiveId" clId="{365A8E39-D1EE-4FEE-9D5E-3CC57D750A89}" dt="2021-09-22T00:58:41.749" v="465"/>
          <ac:spMkLst>
            <pc:docMk/>
            <pc:sldMk cId="1666809826" sldId="2242"/>
            <ac:spMk id="35" creationId="{32CD15F6-7334-4EFC-BEBC-0AA3A5ED870E}"/>
          </ac:spMkLst>
        </pc:spChg>
        <pc:spChg chg="mod">
          <ac:chgData name="Aurelien Domont" userId="6da7715ce44349b3" providerId="LiveId" clId="{365A8E39-D1EE-4FEE-9D5E-3CC57D750A89}" dt="2021-09-22T00:58:49.552" v="466" actId="14100"/>
          <ac:spMkLst>
            <pc:docMk/>
            <pc:sldMk cId="1666809826" sldId="2242"/>
            <ac:spMk id="41" creationId="{AA1C4C18-1E9E-4B7F-B309-F593B5A5B73A}"/>
          </ac:spMkLst>
        </pc:spChg>
      </pc:sldChg>
      <pc:sldChg chg="modSp add del mod">
        <pc:chgData name="Aurelien Domont" userId="6da7715ce44349b3" providerId="LiveId" clId="{365A8E39-D1EE-4FEE-9D5E-3CC57D750A89}" dt="2021-09-22T00:59:30.234" v="467" actId="47"/>
        <pc:sldMkLst>
          <pc:docMk/>
          <pc:sldMk cId="1782692397" sldId="2243"/>
        </pc:sldMkLst>
        <pc:spChg chg="mod">
          <ac:chgData name="Aurelien Domont" userId="6da7715ce44349b3" providerId="LiveId" clId="{365A8E39-D1EE-4FEE-9D5E-3CC57D750A89}" dt="2021-09-22T00:28:03.923" v="428" actId="14100"/>
          <ac:spMkLst>
            <pc:docMk/>
            <pc:sldMk cId="1782692397" sldId="2243"/>
            <ac:spMk id="41" creationId="{AA1C4C18-1E9E-4B7F-B309-F593B5A5B73A}"/>
          </ac:spMkLst>
        </pc:spChg>
      </pc:sldChg>
      <pc:sldChg chg="addSp delSp modSp add mod">
        <pc:chgData name="Aurelien Domont" userId="6da7715ce44349b3" providerId="LiveId" clId="{365A8E39-D1EE-4FEE-9D5E-3CC57D750A89}" dt="2021-09-22T01:29:30.003" v="1934" actId="20577"/>
        <pc:sldMkLst>
          <pc:docMk/>
          <pc:sldMk cId="2486072322" sldId="2243"/>
        </pc:sldMkLst>
        <pc:spChg chg="add del mod">
          <ac:chgData name="Aurelien Domont" userId="6da7715ce44349b3" providerId="LiveId" clId="{365A8E39-D1EE-4FEE-9D5E-3CC57D750A89}" dt="2021-09-22T01:12:26.090" v="1012" actId="478"/>
          <ac:spMkLst>
            <pc:docMk/>
            <pc:sldMk cId="2486072322" sldId="2243"/>
            <ac:spMk id="3" creationId="{51CC2160-4D15-4737-B8FE-3E01E9EDB9F6}"/>
          </ac:spMkLst>
        </pc:spChg>
        <pc:spChg chg="add del mod">
          <ac:chgData name="Aurelien Domont" userId="6da7715ce44349b3" providerId="LiveId" clId="{365A8E39-D1EE-4FEE-9D5E-3CC57D750A89}" dt="2021-09-22T01:27:52.553" v="1801" actId="478"/>
          <ac:spMkLst>
            <pc:docMk/>
            <pc:sldMk cId="2486072322" sldId="2243"/>
            <ac:spMk id="4" creationId="{A45DE92C-E534-4516-A321-B9219C9249A3}"/>
          </ac:spMkLst>
        </pc:spChg>
        <pc:spChg chg="del">
          <ac:chgData name="Aurelien Domont" userId="6da7715ce44349b3" providerId="LiveId" clId="{365A8E39-D1EE-4FEE-9D5E-3CC57D750A89}" dt="2021-09-22T01:00:18.222" v="528" actId="478"/>
          <ac:spMkLst>
            <pc:docMk/>
            <pc:sldMk cId="2486072322" sldId="2243"/>
            <ac:spMk id="9" creationId="{82B3D055-7B95-41B2-9B4B-EDD5F3212EC0}"/>
          </ac:spMkLst>
        </pc:spChg>
        <pc:spChg chg="add mod">
          <ac:chgData name="Aurelien Domont" userId="6da7715ce44349b3" providerId="LiveId" clId="{365A8E39-D1EE-4FEE-9D5E-3CC57D750A89}" dt="2021-09-22T01:28:18.143" v="1815" actId="1037"/>
          <ac:spMkLst>
            <pc:docMk/>
            <pc:sldMk cId="2486072322" sldId="2243"/>
            <ac:spMk id="12" creationId="{8306F265-EA78-49C1-8405-1B65E1DBD4FA}"/>
          </ac:spMkLst>
        </pc:spChg>
        <pc:spChg chg="mod">
          <ac:chgData name="Aurelien Domont" userId="6da7715ce44349b3" providerId="LiveId" clId="{365A8E39-D1EE-4FEE-9D5E-3CC57D750A89}" dt="2021-09-22T01:00:12.872" v="527" actId="20577"/>
          <ac:spMkLst>
            <pc:docMk/>
            <pc:sldMk cId="2486072322" sldId="2243"/>
            <ac:spMk id="16" creationId="{6C2BB713-9637-4B9B-938F-E9768876782A}"/>
          </ac:spMkLst>
        </pc:spChg>
        <pc:spChg chg="del">
          <ac:chgData name="Aurelien Domont" userId="6da7715ce44349b3" providerId="LiveId" clId="{365A8E39-D1EE-4FEE-9D5E-3CC57D750A89}" dt="2021-09-22T01:00:18.222" v="528" actId="478"/>
          <ac:spMkLst>
            <pc:docMk/>
            <pc:sldMk cId="2486072322" sldId="2243"/>
            <ac:spMk id="17" creationId="{D7CB83BD-BA5C-429A-B579-008A442C4480}"/>
          </ac:spMkLst>
        </pc:spChg>
        <pc:spChg chg="del">
          <ac:chgData name="Aurelien Domont" userId="6da7715ce44349b3" providerId="LiveId" clId="{365A8E39-D1EE-4FEE-9D5E-3CC57D750A89}" dt="2021-09-22T01:00:18.222" v="528" actId="478"/>
          <ac:spMkLst>
            <pc:docMk/>
            <pc:sldMk cId="2486072322" sldId="2243"/>
            <ac:spMk id="18" creationId="{6690B5F9-90B9-4DDB-8F95-51D207BE3335}"/>
          </ac:spMkLst>
        </pc:spChg>
        <pc:spChg chg="add mod">
          <ac:chgData name="Aurelien Domont" userId="6da7715ce44349b3" providerId="LiveId" clId="{365A8E39-D1EE-4FEE-9D5E-3CC57D750A89}" dt="2021-09-22T01:28:18.143" v="1815" actId="1037"/>
          <ac:spMkLst>
            <pc:docMk/>
            <pc:sldMk cId="2486072322" sldId="2243"/>
            <ac:spMk id="19" creationId="{9D1DA41A-AAE2-4331-879A-5929CB091B0C}"/>
          </ac:spMkLst>
        </pc:spChg>
        <pc:spChg chg="add mod">
          <ac:chgData name="Aurelien Domont" userId="6da7715ce44349b3" providerId="LiveId" clId="{365A8E39-D1EE-4FEE-9D5E-3CC57D750A89}" dt="2021-09-22T01:28:18.143" v="1815" actId="1037"/>
          <ac:spMkLst>
            <pc:docMk/>
            <pc:sldMk cId="2486072322" sldId="2243"/>
            <ac:spMk id="20" creationId="{A3155065-9875-470B-90E1-D4791446E781}"/>
          </ac:spMkLst>
        </pc:spChg>
        <pc:spChg chg="del">
          <ac:chgData name="Aurelien Domont" userId="6da7715ce44349b3" providerId="LiveId" clId="{365A8E39-D1EE-4FEE-9D5E-3CC57D750A89}" dt="2021-09-22T01:00:18.222" v="528" actId="478"/>
          <ac:spMkLst>
            <pc:docMk/>
            <pc:sldMk cId="2486072322" sldId="2243"/>
            <ac:spMk id="21" creationId="{8887032C-CE4E-4107-8157-6C8608EF9A32}"/>
          </ac:spMkLst>
        </pc:spChg>
        <pc:spChg chg="del">
          <ac:chgData name="Aurelien Domont" userId="6da7715ce44349b3" providerId="LiveId" clId="{365A8E39-D1EE-4FEE-9D5E-3CC57D750A89}" dt="2021-09-22T01:00:18.222" v="528" actId="478"/>
          <ac:spMkLst>
            <pc:docMk/>
            <pc:sldMk cId="2486072322" sldId="2243"/>
            <ac:spMk id="22" creationId="{CC39D5EE-40EF-4CFB-9505-D1EFF3AF3535}"/>
          </ac:spMkLst>
        </pc:spChg>
        <pc:spChg chg="add mod">
          <ac:chgData name="Aurelien Domont" userId="6da7715ce44349b3" providerId="LiveId" clId="{365A8E39-D1EE-4FEE-9D5E-3CC57D750A89}" dt="2021-09-22T01:28:18.143" v="1815" actId="1037"/>
          <ac:spMkLst>
            <pc:docMk/>
            <pc:sldMk cId="2486072322" sldId="2243"/>
            <ac:spMk id="23" creationId="{5DA409EE-3999-44D8-9E67-55D3BEDAF7CC}"/>
          </ac:spMkLst>
        </pc:spChg>
        <pc:spChg chg="add mod">
          <ac:chgData name="Aurelien Domont" userId="6da7715ce44349b3" providerId="LiveId" clId="{365A8E39-D1EE-4FEE-9D5E-3CC57D750A89}" dt="2021-09-22T01:28:18.143" v="1815" actId="1037"/>
          <ac:spMkLst>
            <pc:docMk/>
            <pc:sldMk cId="2486072322" sldId="2243"/>
            <ac:spMk id="24" creationId="{3FDE4D88-5A8E-4D70-9AC2-1A3E89904A39}"/>
          </ac:spMkLst>
        </pc:spChg>
        <pc:spChg chg="add mod">
          <ac:chgData name="Aurelien Domont" userId="6da7715ce44349b3" providerId="LiveId" clId="{365A8E39-D1EE-4FEE-9D5E-3CC57D750A89}" dt="2021-09-22T01:28:18.143" v="1815" actId="1037"/>
          <ac:spMkLst>
            <pc:docMk/>
            <pc:sldMk cId="2486072322" sldId="2243"/>
            <ac:spMk id="25" creationId="{7810C931-4159-45C4-A3E2-704C14939ABF}"/>
          </ac:spMkLst>
        </pc:spChg>
        <pc:spChg chg="add mod">
          <ac:chgData name="Aurelien Domont" userId="6da7715ce44349b3" providerId="LiveId" clId="{365A8E39-D1EE-4FEE-9D5E-3CC57D750A89}" dt="2021-09-22T01:28:18.143" v="1815" actId="1037"/>
          <ac:spMkLst>
            <pc:docMk/>
            <pc:sldMk cId="2486072322" sldId="2243"/>
            <ac:spMk id="26" creationId="{7C973433-79AC-420E-B105-53A20575C1AE}"/>
          </ac:spMkLst>
        </pc:spChg>
        <pc:spChg chg="add mod">
          <ac:chgData name="Aurelien Domont" userId="6da7715ce44349b3" providerId="LiveId" clId="{365A8E39-D1EE-4FEE-9D5E-3CC57D750A89}" dt="2021-09-22T01:28:18.143" v="1815" actId="1037"/>
          <ac:spMkLst>
            <pc:docMk/>
            <pc:sldMk cId="2486072322" sldId="2243"/>
            <ac:spMk id="27" creationId="{538B4C19-4199-4EC4-9055-FBAFAF368D6C}"/>
          </ac:spMkLst>
        </pc:spChg>
        <pc:spChg chg="add mod">
          <ac:chgData name="Aurelien Domont" userId="6da7715ce44349b3" providerId="LiveId" clId="{365A8E39-D1EE-4FEE-9D5E-3CC57D750A89}" dt="2021-09-22T01:28:18.143" v="1815" actId="1037"/>
          <ac:spMkLst>
            <pc:docMk/>
            <pc:sldMk cId="2486072322" sldId="2243"/>
            <ac:spMk id="28" creationId="{1B373EA7-CBDC-463F-89E7-9F6240D1B42D}"/>
          </ac:spMkLst>
        </pc:spChg>
        <pc:spChg chg="add mod">
          <ac:chgData name="Aurelien Domont" userId="6da7715ce44349b3" providerId="LiveId" clId="{365A8E39-D1EE-4FEE-9D5E-3CC57D750A89}" dt="2021-09-22T01:28:18.143" v="1815" actId="1037"/>
          <ac:spMkLst>
            <pc:docMk/>
            <pc:sldMk cId="2486072322" sldId="2243"/>
            <ac:spMk id="29" creationId="{64C31903-87EE-4E43-A377-FD7EA4AEAD0D}"/>
          </ac:spMkLst>
        </pc:spChg>
        <pc:spChg chg="add del mod">
          <ac:chgData name="Aurelien Domont" userId="6da7715ce44349b3" providerId="LiveId" clId="{365A8E39-D1EE-4FEE-9D5E-3CC57D750A89}" dt="2021-09-22T01:24:57.370" v="1581" actId="478"/>
          <ac:spMkLst>
            <pc:docMk/>
            <pc:sldMk cId="2486072322" sldId="2243"/>
            <ac:spMk id="30" creationId="{D589F1B9-5B7C-4F99-BDD6-BA357E2B7563}"/>
          </ac:spMkLst>
        </pc:spChg>
        <pc:spChg chg="add mod">
          <ac:chgData name="Aurelien Domont" userId="6da7715ce44349b3" providerId="LiveId" clId="{365A8E39-D1EE-4FEE-9D5E-3CC57D750A89}" dt="2021-09-22T01:28:43.434" v="1848" actId="20577"/>
          <ac:spMkLst>
            <pc:docMk/>
            <pc:sldMk cId="2486072322" sldId="2243"/>
            <ac:spMk id="37" creationId="{BBCA321F-3F34-4EFD-8EEC-A81B7F0B962B}"/>
          </ac:spMkLst>
        </pc:spChg>
        <pc:spChg chg="add mod">
          <ac:chgData name="Aurelien Domont" userId="6da7715ce44349b3" providerId="LiveId" clId="{365A8E39-D1EE-4FEE-9D5E-3CC57D750A89}" dt="2021-09-22T01:29:30.003" v="1934" actId="20577"/>
          <ac:spMkLst>
            <pc:docMk/>
            <pc:sldMk cId="2486072322" sldId="2243"/>
            <ac:spMk id="38" creationId="{AB36AA84-CB9C-45D1-8377-C9C59F0AB8D3}"/>
          </ac:spMkLst>
        </pc:spChg>
        <pc:cxnChg chg="add del mod">
          <ac:chgData name="Aurelien Domont" userId="6da7715ce44349b3" providerId="LiveId" clId="{365A8E39-D1EE-4FEE-9D5E-3CC57D750A89}" dt="2021-09-22T01:20:05.284" v="1462" actId="478"/>
          <ac:cxnSpMkLst>
            <pc:docMk/>
            <pc:sldMk cId="2486072322" sldId="2243"/>
            <ac:cxnSpMk id="6" creationId="{F34C2E7B-1698-4140-919C-BB32A5A7B7C0}"/>
          </ac:cxnSpMkLst>
        </pc:cxnChg>
        <pc:cxnChg chg="add del mod">
          <ac:chgData name="Aurelien Domont" userId="6da7715ce44349b3" providerId="LiveId" clId="{365A8E39-D1EE-4FEE-9D5E-3CC57D750A89}" dt="2021-09-22T01:25:36.559" v="1650" actId="478"/>
          <ac:cxnSpMkLst>
            <pc:docMk/>
            <pc:sldMk cId="2486072322" sldId="2243"/>
            <ac:cxnSpMk id="11" creationId="{EF1289BA-004B-415A-8372-9A19A800A8B2}"/>
          </ac:cxnSpMkLst>
        </pc:cxnChg>
        <pc:cxnChg chg="add del mod">
          <ac:chgData name="Aurelien Domont" userId="6da7715ce44349b3" providerId="LiveId" clId="{365A8E39-D1EE-4FEE-9D5E-3CC57D750A89}" dt="2021-09-22T01:25:35.299" v="1649" actId="478"/>
          <ac:cxnSpMkLst>
            <pc:docMk/>
            <pc:sldMk cId="2486072322" sldId="2243"/>
            <ac:cxnSpMk id="15" creationId="{5C5CC0A5-99BD-4519-A63F-B8C151A6807B}"/>
          </ac:cxnSpMkLst>
        </pc:cxnChg>
        <pc:cxnChg chg="add del mod">
          <ac:chgData name="Aurelien Domont" userId="6da7715ce44349b3" providerId="LiveId" clId="{365A8E39-D1EE-4FEE-9D5E-3CC57D750A89}" dt="2021-09-22T01:26:45.741" v="1713" actId="11529"/>
          <ac:cxnSpMkLst>
            <pc:docMk/>
            <pc:sldMk cId="2486072322" sldId="2243"/>
            <ac:cxnSpMk id="32" creationId="{4743FF95-483B-46BD-AAE2-0CB9C8E554C5}"/>
          </ac:cxnSpMkLst>
        </pc:cxnChg>
        <pc:cxnChg chg="add del mod">
          <ac:chgData name="Aurelien Domont" userId="6da7715ce44349b3" providerId="LiveId" clId="{365A8E39-D1EE-4FEE-9D5E-3CC57D750A89}" dt="2021-09-22T01:26:45.379" v="1712" actId="11529"/>
          <ac:cxnSpMkLst>
            <pc:docMk/>
            <pc:sldMk cId="2486072322" sldId="2243"/>
            <ac:cxnSpMk id="34" creationId="{E3E7897A-73DF-46B0-84FE-B422DC7AB631}"/>
          </ac:cxnSpMkLst>
        </pc:cxnChg>
        <pc:cxnChg chg="add del mod">
          <ac:chgData name="Aurelien Domont" userId="6da7715ce44349b3" providerId="LiveId" clId="{365A8E39-D1EE-4FEE-9D5E-3CC57D750A89}" dt="2021-09-22T01:26:44.991" v="1711" actId="11529"/>
          <ac:cxnSpMkLst>
            <pc:docMk/>
            <pc:sldMk cId="2486072322" sldId="2243"/>
            <ac:cxnSpMk id="36" creationId="{8AE4A51B-9B6E-4CD8-B834-D24748A43B36}"/>
          </ac:cxnSpMkLst>
        </pc:cxnChg>
      </pc:sldChg>
      <pc:sldChg chg="modSp add del mod">
        <pc:chgData name="Aurelien Domont" userId="6da7715ce44349b3" providerId="LiveId" clId="{365A8E39-D1EE-4FEE-9D5E-3CC57D750A89}" dt="2021-09-22T00:59:30.234" v="467" actId="47"/>
        <pc:sldMkLst>
          <pc:docMk/>
          <pc:sldMk cId="1948240009" sldId="2244"/>
        </pc:sldMkLst>
        <pc:spChg chg="mod">
          <ac:chgData name="Aurelien Domont" userId="6da7715ce44349b3" providerId="LiveId" clId="{365A8E39-D1EE-4FEE-9D5E-3CC57D750A89}" dt="2021-09-22T00:28:50.261" v="462" actId="14100"/>
          <ac:spMkLst>
            <pc:docMk/>
            <pc:sldMk cId="1948240009" sldId="2244"/>
            <ac:spMk id="41" creationId="{AA1C4C18-1E9E-4B7F-B309-F593B5A5B73A}"/>
          </ac:spMkLst>
        </pc:spChg>
      </pc:sldChg>
      <pc:sldChg chg="addSp delSp modSp add mod">
        <pc:chgData name="Aurelien Domont" userId="6da7715ce44349b3" providerId="LiveId" clId="{365A8E39-D1EE-4FEE-9D5E-3CC57D750A89}" dt="2021-09-22T01:32:54.418" v="1969" actId="108"/>
        <pc:sldMkLst>
          <pc:docMk/>
          <pc:sldMk cId="3127765946" sldId="2244"/>
        </pc:sldMkLst>
        <pc:spChg chg="del">
          <ac:chgData name="Aurelien Domont" userId="6da7715ce44349b3" providerId="LiveId" clId="{365A8E39-D1EE-4FEE-9D5E-3CC57D750A89}" dt="2021-09-22T01:30:19.347" v="1947" actId="478"/>
          <ac:spMkLst>
            <pc:docMk/>
            <pc:sldMk cId="3127765946" sldId="2244"/>
            <ac:spMk id="3" creationId="{51CC2160-4D15-4737-B8FE-3E01E9EDB9F6}"/>
          </ac:spMkLst>
        </pc:spChg>
        <pc:spChg chg="add mod">
          <ac:chgData name="Aurelien Domont" userId="6da7715ce44349b3" providerId="LiveId" clId="{365A8E39-D1EE-4FEE-9D5E-3CC57D750A89}" dt="2021-09-22T01:30:16.774" v="1946"/>
          <ac:spMkLst>
            <pc:docMk/>
            <pc:sldMk cId="3127765946" sldId="2244"/>
            <ac:spMk id="6" creationId="{B920DB00-1732-43D5-AE64-40069E5E220A}"/>
          </ac:spMkLst>
        </pc:spChg>
        <pc:spChg chg="add mod">
          <ac:chgData name="Aurelien Domont" userId="6da7715ce44349b3" providerId="LiveId" clId="{365A8E39-D1EE-4FEE-9D5E-3CC57D750A89}" dt="2021-09-22T01:32:41.122" v="1968" actId="207"/>
          <ac:spMkLst>
            <pc:docMk/>
            <pc:sldMk cId="3127765946" sldId="2244"/>
            <ac:spMk id="7" creationId="{0118B5E1-B7D5-4D7A-AF40-FAB6F3A716FE}"/>
          </ac:spMkLst>
        </pc:spChg>
        <pc:spChg chg="add mod">
          <ac:chgData name="Aurelien Domont" userId="6da7715ce44349b3" providerId="LiveId" clId="{365A8E39-D1EE-4FEE-9D5E-3CC57D750A89}" dt="2021-09-22T01:32:41.122" v="1968" actId="207"/>
          <ac:spMkLst>
            <pc:docMk/>
            <pc:sldMk cId="3127765946" sldId="2244"/>
            <ac:spMk id="8" creationId="{C104F7B4-DF7D-4E85-AC9F-9C6FF5FDF914}"/>
          </ac:spMkLst>
        </pc:spChg>
        <pc:spChg chg="add mod">
          <ac:chgData name="Aurelien Domont" userId="6da7715ce44349b3" providerId="LiveId" clId="{365A8E39-D1EE-4FEE-9D5E-3CC57D750A89}" dt="2021-09-22T01:30:16.774" v="1946"/>
          <ac:spMkLst>
            <pc:docMk/>
            <pc:sldMk cId="3127765946" sldId="2244"/>
            <ac:spMk id="9" creationId="{99C4A072-1BF4-4128-9D99-7D2A5529EE1E}"/>
          </ac:spMkLst>
        </pc:spChg>
        <pc:spChg chg="add mod">
          <ac:chgData name="Aurelien Domont" userId="6da7715ce44349b3" providerId="LiveId" clId="{365A8E39-D1EE-4FEE-9D5E-3CC57D750A89}" dt="2021-09-22T01:30:16.774" v="1946"/>
          <ac:spMkLst>
            <pc:docMk/>
            <pc:sldMk cId="3127765946" sldId="2244"/>
            <ac:spMk id="10" creationId="{A3F876CD-326B-4FA5-B13A-A902D9C7332D}"/>
          </ac:spMkLst>
        </pc:spChg>
        <pc:spChg chg="add mod">
          <ac:chgData name="Aurelien Domont" userId="6da7715ce44349b3" providerId="LiveId" clId="{365A8E39-D1EE-4FEE-9D5E-3CC57D750A89}" dt="2021-09-22T01:30:16.774" v="1946"/>
          <ac:spMkLst>
            <pc:docMk/>
            <pc:sldMk cId="3127765946" sldId="2244"/>
            <ac:spMk id="11" creationId="{899E6F83-7BB0-4E20-8A52-FF081BD71F4E}"/>
          </ac:spMkLst>
        </pc:spChg>
        <pc:spChg chg="add mod">
          <ac:chgData name="Aurelien Domont" userId="6da7715ce44349b3" providerId="LiveId" clId="{365A8E39-D1EE-4FEE-9D5E-3CC57D750A89}" dt="2021-09-22T01:32:54.418" v="1969" actId="108"/>
          <ac:spMkLst>
            <pc:docMk/>
            <pc:sldMk cId="3127765946" sldId="2244"/>
            <ac:spMk id="12" creationId="{C457F947-2BD3-4D47-9DFC-30CD26DC9FDB}"/>
          </ac:spMkLst>
        </pc:spChg>
        <pc:spChg chg="add mod">
          <ac:chgData name="Aurelien Domont" userId="6da7715ce44349b3" providerId="LiveId" clId="{365A8E39-D1EE-4FEE-9D5E-3CC57D750A89}" dt="2021-09-22T01:30:16.774" v="1946"/>
          <ac:spMkLst>
            <pc:docMk/>
            <pc:sldMk cId="3127765946" sldId="2244"/>
            <ac:spMk id="14" creationId="{B908BDAD-49ED-4DE8-989B-12D2029B8391}"/>
          </ac:spMkLst>
        </pc:spChg>
        <pc:spChg chg="add mod">
          <ac:chgData name="Aurelien Domont" userId="6da7715ce44349b3" providerId="LiveId" clId="{365A8E39-D1EE-4FEE-9D5E-3CC57D750A89}" dt="2021-09-22T01:30:16.774" v="1946"/>
          <ac:spMkLst>
            <pc:docMk/>
            <pc:sldMk cId="3127765946" sldId="2244"/>
            <ac:spMk id="15" creationId="{882F2B8A-B8CC-4578-A802-7C982F3E8D74}"/>
          </ac:spMkLst>
        </pc:spChg>
        <pc:spChg chg="mod">
          <ac:chgData name="Aurelien Domont" userId="6da7715ce44349b3" providerId="LiveId" clId="{365A8E39-D1EE-4FEE-9D5E-3CC57D750A89}" dt="2021-09-22T01:31:26.653" v="1965" actId="20577"/>
          <ac:spMkLst>
            <pc:docMk/>
            <pc:sldMk cId="3127765946" sldId="2244"/>
            <ac:spMk id="16" creationId="{6C2BB713-9637-4B9B-938F-E9768876782A}"/>
          </ac:spMkLst>
        </pc:spChg>
        <pc:spChg chg="add mod">
          <ac:chgData name="Aurelien Domont" userId="6da7715ce44349b3" providerId="LiveId" clId="{365A8E39-D1EE-4FEE-9D5E-3CC57D750A89}" dt="2021-09-22T01:30:16.774" v="1946"/>
          <ac:spMkLst>
            <pc:docMk/>
            <pc:sldMk cId="3127765946" sldId="2244"/>
            <ac:spMk id="17" creationId="{12C59209-8DE9-468E-840E-54A32AA58090}"/>
          </ac:spMkLst>
        </pc:spChg>
        <pc:spChg chg="add mod">
          <ac:chgData name="Aurelien Domont" userId="6da7715ce44349b3" providerId="LiveId" clId="{365A8E39-D1EE-4FEE-9D5E-3CC57D750A89}" dt="2021-09-22T01:32:41.122" v="1968" actId="207"/>
          <ac:spMkLst>
            <pc:docMk/>
            <pc:sldMk cId="3127765946" sldId="2244"/>
            <ac:spMk id="18" creationId="{AAC250B5-447A-4454-9365-F413915D5462}"/>
          </ac:spMkLst>
        </pc:spChg>
        <pc:spChg chg="add mod">
          <ac:chgData name="Aurelien Domont" userId="6da7715ce44349b3" providerId="LiveId" clId="{365A8E39-D1EE-4FEE-9D5E-3CC57D750A89}" dt="2021-09-22T01:30:16.774" v="1946"/>
          <ac:spMkLst>
            <pc:docMk/>
            <pc:sldMk cId="3127765946" sldId="2244"/>
            <ac:spMk id="19" creationId="{16F4C450-2050-4624-B4D5-B800C5FA6805}"/>
          </ac:spMkLst>
        </pc:spChg>
      </pc:sldChg>
      <pc:sldChg chg="modSp add mod">
        <pc:chgData name="Aurelien Domont" userId="6da7715ce44349b3" providerId="LiveId" clId="{365A8E39-D1EE-4FEE-9D5E-3CC57D750A89}" dt="2021-09-22T01:39:07.825" v="2219" actId="14100"/>
        <pc:sldMkLst>
          <pc:docMk/>
          <pc:sldMk cId="2239908635" sldId="2245"/>
        </pc:sldMkLst>
        <pc:spChg chg="mod">
          <ac:chgData name="Aurelien Domont" userId="6da7715ce44349b3" providerId="LiveId" clId="{365A8E39-D1EE-4FEE-9D5E-3CC57D750A89}" dt="2021-09-22T01:39:07.825" v="2219" actId="14100"/>
          <ac:spMkLst>
            <pc:docMk/>
            <pc:sldMk cId="2239908635" sldId="2245"/>
            <ac:spMk id="41" creationId="{AA1C4C18-1E9E-4B7F-B309-F593B5A5B73A}"/>
          </ac:spMkLst>
        </pc:spChg>
      </pc:sldChg>
      <pc:sldChg chg="add del">
        <pc:chgData name="Aurelien Domont" userId="6da7715ce44349b3" providerId="LiveId" clId="{365A8E39-D1EE-4FEE-9D5E-3CC57D750A89}" dt="2021-09-22T01:29:59.878" v="1935" actId="47"/>
        <pc:sldMkLst>
          <pc:docMk/>
          <pc:sldMk cId="3587674475" sldId="2245"/>
        </pc:sldMkLst>
      </pc:sldChg>
      <pc:sldChg chg="addSp modSp new del mod">
        <pc:chgData name="Aurelien Domont" userId="6da7715ce44349b3" providerId="LiveId" clId="{365A8E39-D1EE-4FEE-9D5E-3CC57D750A89}" dt="2021-09-22T06:13:25.624" v="4025" actId="47"/>
        <pc:sldMkLst>
          <pc:docMk/>
          <pc:sldMk cId="231229300" sldId="2246"/>
        </pc:sldMkLst>
        <pc:spChg chg="add mod">
          <ac:chgData name="Aurelien Domont" userId="6da7715ce44349b3" providerId="LiveId" clId="{365A8E39-D1EE-4FEE-9D5E-3CC57D750A89}" dt="2021-09-22T01:39:23.336" v="2222" actId="13822"/>
          <ac:spMkLst>
            <pc:docMk/>
            <pc:sldMk cId="231229300" sldId="2246"/>
            <ac:spMk id="8" creationId="{98F1096B-6096-47CA-A7DF-789CF6278910}"/>
          </ac:spMkLst>
        </pc:spChg>
      </pc:sldChg>
      <pc:sldChg chg="modSp add mod">
        <pc:chgData name="Aurelien Domont" userId="6da7715ce44349b3" providerId="LiveId" clId="{365A8E39-D1EE-4FEE-9D5E-3CC57D750A89}" dt="2021-09-22T02:01:47.781" v="2449" actId="14100"/>
        <pc:sldMkLst>
          <pc:docMk/>
          <pc:sldMk cId="1755437089" sldId="2247"/>
        </pc:sldMkLst>
        <pc:spChg chg="mod">
          <ac:chgData name="Aurelien Domont" userId="6da7715ce44349b3" providerId="LiveId" clId="{365A8E39-D1EE-4FEE-9D5E-3CC57D750A89}" dt="2021-09-22T02:01:47.781" v="2449" actId="14100"/>
          <ac:spMkLst>
            <pc:docMk/>
            <pc:sldMk cId="1755437089" sldId="2247"/>
            <ac:spMk id="41" creationId="{AA1C4C18-1E9E-4B7F-B309-F593B5A5B73A}"/>
          </ac:spMkLst>
        </pc:spChg>
      </pc:sldChg>
      <pc:sldChg chg="modSp add mod">
        <pc:chgData name="Aurelien Domont" userId="6da7715ce44349b3" providerId="LiveId" clId="{365A8E39-D1EE-4FEE-9D5E-3CC57D750A89}" dt="2021-09-22T02:02:06.777" v="2473" actId="1035"/>
        <pc:sldMkLst>
          <pc:docMk/>
          <pc:sldMk cId="2703452683" sldId="2248"/>
        </pc:sldMkLst>
        <pc:spChg chg="mod">
          <ac:chgData name="Aurelien Domont" userId="6da7715ce44349b3" providerId="LiveId" clId="{365A8E39-D1EE-4FEE-9D5E-3CC57D750A89}" dt="2021-09-22T02:02:06.777" v="2473" actId="1035"/>
          <ac:spMkLst>
            <pc:docMk/>
            <pc:sldMk cId="2703452683" sldId="2248"/>
            <ac:spMk id="41" creationId="{AA1C4C18-1E9E-4B7F-B309-F593B5A5B73A}"/>
          </ac:spMkLst>
        </pc:spChg>
      </pc:sldChg>
      <pc:sldChg chg="addSp delSp modSp add mod">
        <pc:chgData name="Aurelien Domont" userId="6da7715ce44349b3" providerId="LiveId" clId="{365A8E39-D1EE-4FEE-9D5E-3CC57D750A89}" dt="2021-09-22T06:17:04.853" v="4238" actId="20577"/>
        <pc:sldMkLst>
          <pc:docMk/>
          <pc:sldMk cId="3803122314" sldId="2249"/>
        </pc:sldMkLst>
        <pc:spChg chg="del">
          <ac:chgData name="Aurelien Domont" userId="6da7715ce44349b3" providerId="LiveId" clId="{365A8E39-D1EE-4FEE-9D5E-3CC57D750A89}" dt="2021-09-22T05:54:24.241" v="3505" actId="478"/>
          <ac:spMkLst>
            <pc:docMk/>
            <pc:sldMk cId="3803122314" sldId="2249"/>
            <ac:spMk id="5" creationId="{451CCA09-1D02-4912-A627-48525D1FC292}"/>
          </ac:spMkLst>
        </pc:spChg>
        <pc:spChg chg="del">
          <ac:chgData name="Aurelien Domont" userId="6da7715ce44349b3" providerId="LiveId" clId="{365A8E39-D1EE-4FEE-9D5E-3CC57D750A89}" dt="2021-09-22T05:54:24.241" v="3505" actId="478"/>
          <ac:spMkLst>
            <pc:docMk/>
            <pc:sldMk cId="3803122314" sldId="2249"/>
            <ac:spMk id="6" creationId="{58640601-4D44-4B49-A731-7641730D8799}"/>
          </ac:spMkLst>
        </pc:spChg>
        <pc:spChg chg="mod">
          <ac:chgData name="Aurelien Domont" userId="6da7715ce44349b3" providerId="LiveId" clId="{365A8E39-D1EE-4FEE-9D5E-3CC57D750A89}" dt="2021-09-22T05:54:40.847" v="3525" actId="20577"/>
          <ac:spMkLst>
            <pc:docMk/>
            <pc:sldMk cId="3803122314" sldId="2249"/>
            <ac:spMk id="16" creationId="{6C2BB713-9637-4B9B-938F-E9768876782A}"/>
          </ac:spMkLst>
        </pc:spChg>
        <pc:spChg chg="add mod">
          <ac:chgData name="Aurelien Domont" userId="6da7715ce44349b3" providerId="LiveId" clId="{365A8E39-D1EE-4FEE-9D5E-3CC57D750A89}" dt="2021-09-22T05:56:11.285" v="3526"/>
          <ac:spMkLst>
            <pc:docMk/>
            <pc:sldMk cId="3803122314" sldId="2249"/>
            <ac:spMk id="21" creationId="{C4154393-69BD-4256-83B9-7AB6B511F539}"/>
          </ac:spMkLst>
        </pc:spChg>
        <pc:spChg chg="del">
          <ac:chgData name="Aurelien Domont" userId="6da7715ce44349b3" providerId="LiveId" clId="{365A8E39-D1EE-4FEE-9D5E-3CC57D750A89}" dt="2021-09-22T05:54:24.241" v="3505" actId="478"/>
          <ac:spMkLst>
            <pc:docMk/>
            <pc:sldMk cId="3803122314" sldId="2249"/>
            <ac:spMk id="23" creationId="{B334694F-7BB3-4FCD-9E8F-FFA6E89394E3}"/>
          </ac:spMkLst>
        </pc:spChg>
        <pc:spChg chg="del">
          <ac:chgData name="Aurelien Domont" userId="6da7715ce44349b3" providerId="LiveId" clId="{365A8E39-D1EE-4FEE-9D5E-3CC57D750A89}" dt="2021-09-22T05:54:24.241" v="3505" actId="478"/>
          <ac:spMkLst>
            <pc:docMk/>
            <pc:sldMk cId="3803122314" sldId="2249"/>
            <ac:spMk id="24" creationId="{65ED58C9-C893-412C-A89A-0D2078927765}"/>
          </ac:spMkLst>
        </pc:spChg>
        <pc:spChg chg="del">
          <ac:chgData name="Aurelien Domont" userId="6da7715ce44349b3" providerId="LiveId" clId="{365A8E39-D1EE-4FEE-9D5E-3CC57D750A89}" dt="2021-09-22T05:54:24.241" v="3505" actId="478"/>
          <ac:spMkLst>
            <pc:docMk/>
            <pc:sldMk cId="3803122314" sldId="2249"/>
            <ac:spMk id="25" creationId="{7D833DE7-9E1C-4475-A7CE-460FF1F4D7C1}"/>
          </ac:spMkLst>
        </pc:spChg>
        <pc:spChg chg="del">
          <ac:chgData name="Aurelien Domont" userId="6da7715ce44349b3" providerId="LiveId" clId="{365A8E39-D1EE-4FEE-9D5E-3CC57D750A89}" dt="2021-09-22T05:54:24.241" v="3505" actId="478"/>
          <ac:spMkLst>
            <pc:docMk/>
            <pc:sldMk cId="3803122314" sldId="2249"/>
            <ac:spMk id="26" creationId="{0F2E6CC3-2425-4F18-BF55-995AAC49BDEC}"/>
          </ac:spMkLst>
        </pc:spChg>
        <pc:spChg chg="del">
          <ac:chgData name="Aurelien Domont" userId="6da7715ce44349b3" providerId="LiveId" clId="{365A8E39-D1EE-4FEE-9D5E-3CC57D750A89}" dt="2021-09-22T05:54:24.241" v="3505" actId="478"/>
          <ac:spMkLst>
            <pc:docMk/>
            <pc:sldMk cId="3803122314" sldId="2249"/>
            <ac:spMk id="27" creationId="{CF68F54C-6564-4B2B-A213-1F519EEB94AD}"/>
          </ac:spMkLst>
        </pc:spChg>
        <pc:spChg chg="del">
          <ac:chgData name="Aurelien Domont" userId="6da7715ce44349b3" providerId="LiveId" clId="{365A8E39-D1EE-4FEE-9D5E-3CC57D750A89}" dt="2021-09-22T05:54:24.241" v="3505" actId="478"/>
          <ac:spMkLst>
            <pc:docMk/>
            <pc:sldMk cId="3803122314" sldId="2249"/>
            <ac:spMk id="28" creationId="{EC8720D3-8207-4B1C-913F-0D3EC2ECFB2B}"/>
          </ac:spMkLst>
        </pc:spChg>
        <pc:spChg chg="del">
          <ac:chgData name="Aurelien Domont" userId="6da7715ce44349b3" providerId="LiveId" clId="{365A8E39-D1EE-4FEE-9D5E-3CC57D750A89}" dt="2021-09-22T05:54:24.241" v="3505" actId="478"/>
          <ac:spMkLst>
            <pc:docMk/>
            <pc:sldMk cId="3803122314" sldId="2249"/>
            <ac:spMk id="29" creationId="{9F88C4F5-E765-47EF-B190-EA4613B36123}"/>
          </ac:spMkLst>
        </pc:spChg>
        <pc:spChg chg="del">
          <ac:chgData name="Aurelien Domont" userId="6da7715ce44349b3" providerId="LiveId" clId="{365A8E39-D1EE-4FEE-9D5E-3CC57D750A89}" dt="2021-09-22T05:54:24.241" v="3505" actId="478"/>
          <ac:spMkLst>
            <pc:docMk/>
            <pc:sldMk cId="3803122314" sldId="2249"/>
            <ac:spMk id="30" creationId="{1F2E2D8A-2BD9-4E56-AD54-2E76B8B40303}"/>
          </ac:spMkLst>
        </pc:spChg>
        <pc:spChg chg="del">
          <ac:chgData name="Aurelien Domont" userId="6da7715ce44349b3" providerId="LiveId" clId="{365A8E39-D1EE-4FEE-9D5E-3CC57D750A89}" dt="2021-09-22T05:54:24.241" v="3505" actId="478"/>
          <ac:spMkLst>
            <pc:docMk/>
            <pc:sldMk cId="3803122314" sldId="2249"/>
            <ac:spMk id="31" creationId="{92591DBB-98EC-493C-A852-F0EFB804075A}"/>
          </ac:spMkLst>
        </pc:spChg>
        <pc:spChg chg="del">
          <ac:chgData name="Aurelien Domont" userId="6da7715ce44349b3" providerId="LiveId" clId="{365A8E39-D1EE-4FEE-9D5E-3CC57D750A89}" dt="2021-09-22T05:54:24.241" v="3505" actId="478"/>
          <ac:spMkLst>
            <pc:docMk/>
            <pc:sldMk cId="3803122314" sldId="2249"/>
            <ac:spMk id="32" creationId="{E2D2C2F5-DA73-4151-9A73-5F844F4A5E2A}"/>
          </ac:spMkLst>
        </pc:spChg>
        <pc:spChg chg="del">
          <ac:chgData name="Aurelien Domont" userId="6da7715ce44349b3" providerId="LiveId" clId="{365A8E39-D1EE-4FEE-9D5E-3CC57D750A89}" dt="2021-09-22T05:54:24.241" v="3505" actId="478"/>
          <ac:spMkLst>
            <pc:docMk/>
            <pc:sldMk cId="3803122314" sldId="2249"/>
            <ac:spMk id="33" creationId="{FF52AD10-B87D-42B7-BC46-3E3BA92DD759}"/>
          </ac:spMkLst>
        </pc:spChg>
        <pc:spChg chg="del">
          <ac:chgData name="Aurelien Domont" userId="6da7715ce44349b3" providerId="LiveId" clId="{365A8E39-D1EE-4FEE-9D5E-3CC57D750A89}" dt="2021-09-22T05:54:24.241" v="3505" actId="478"/>
          <ac:spMkLst>
            <pc:docMk/>
            <pc:sldMk cId="3803122314" sldId="2249"/>
            <ac:spMk id="34" creationId="{8298234B-3021-44DF-8D5D-F615B16AD5EC}"/>
          </ac:spMkLst>
        </pc:spChg>
        <pc:spChg chg="del">
          <ac:chgData name="Aurelien Domont" userId="6da7715ce44349b3" providerId="LiveId" clId="{365A8E39-D1EE-4FEE-9D5E-3CC57D750A89}" dt="2021-09-22T05:54:24.241" v="3505" actId="478"/>
          <ac:spMkLst>
            <pc:docMk/>
            <pc:sldMk cId="3803122314" sldId="2249"/>
            <ac:spMk id="35" creationId="{C4C1607E-5DDE-476E-957E-58ACEBC90CCC}"/>
          </ac:spMkLst>
        </pc:spChg>
        <pc:spChg chg="add mod">
          <ac:chgData name="Aurelien Domont" userId="6da7715ce44349b3" providerId="LiveId" clId="{365A8E39-D1EE-4FEE-9D5E-3CC57D750A89}" dt="2021-09-22T05:56:11.285" v="3526"/>
          <ac:spMkLst>
            <pc:docMk/>
            <pc:sldMk cId="3803122314" sldId="2249"/>
            <ac:spMk id="36" creationId="{211A113D-B49F-4321-9B64-2DA0316D05F7}"/>
          </ac:spMkLst>
        </pc:spChg>
        <pc:spChg chg="add mod">
          <ac:chgData name="Aurelien Domont" userId="6da7715ce44349b3" providerId="LiveId" clId="{365A8E39-D1EE-4FEE-9D5E-3CC57D750A89}" dt="2021-09-22T05:56:11.285" v="3526"/>
          <ac:spMkLst>
            <pc:docMk/>
            <pc:sldMk cId="3803122314" sldId="2249"/>
            <ac:spMk id="38" creationId="{5684BCB9-1D64-4814-8E68-C23822DA165B}"/>
          </ac:spMkLst>
        </pc:spChg>
        <pc:spChg chg="add mod">
          <ac:chgData name="Aurelien Domont" userId="6da7715ce44349b3" providerId="LiveId" clId="{365A8E39-D1EE-4FEE-9D5E-3CC57D750A89}" dt="2021-09-22T05:56:11.285" v="3526"/>
          <ac:spMkLst>
            <pc:docMk/>
            <pc:sldMk cId="3803122314" sldId="2249"/>
            <ac:spMk id="40" creationId="{B2BE7CAA-8DE3-4194-9626-AB0115E835C9}"/>
          </ac:spMkLst>
        </pc:spChg>
        <pc:spChg chg="add mod">
          <ac:chgData name="Aurelien Domont" userId="6da7715ce44349b3" providerId="LiveId" clId="{365A8E39-D1EE-4FEE-9D5E-3CC57D750A89}" dt="2021-09-22T05:56:11.285" v="3526"/>
          <ac:spMkLst>
            <pc:docMk/>
            <pc:sldMk cId="3803122314" sldId="2249"/>
            <ac:spMk id="42" creationId="{7B87E424-9BB0-4DE3-B024-133E76635D87}"/>
          </ac:spMkLst>
        </pc:spChg>
        <pc:spChg chg="add mod">
          <ac:chgData name="Aurelien Domont" userId="6da7715ce44349b3" providerId="LiveId" clId="{365A8E39-D1EE-4FEE-9D5E-3CC57D750A89}" dt="2021-09-22T05:56:11.285" v="3526"/>
          <ac:spMkLst>
            <pc:docMk/>
            <pc:sldMk cId="3803122314" sldId="2249"/>
            <ac:spMk id="43" creationId="{F4838B57-EE6F-4E30-A12E-B872C18B1D4C}"/>
          </ac:spMkLst>
        </pc:spChg>
        <pc:spChg chg="add mod">
          <ac:chgData name="Aurelien Domont" userId="6da7715ce44349b3" providerId="LiveId" clId="{365A8E39-D1EE-4FEE-9D5E-3CC57D750A89}" dt="2021-09-22T05:56:11.285" v="3526"/>
          <ac:spMkLst>
            <pc:docMk/>
            <pc:sldMk cId="3803122314" sldId="2249"/>
            <ac:spMk id="44" creationId="{C30115AD-B707-4CF9-A747-D3623D3C6BF8}"/>
          </ac:spMkLst>
        </pc:spChg>
        <pc:spChg chg="add mod">
          <ac:chgData name="Aurelien Domont" userId="6da7715ce44349b3" providerId="LiveId" clId="{365A8E39-D1EE-4FEE-9D5E-3CC57D750A89}" dt="2021-09-22T05:56:11.285" v="3526"/>
          <ac:spMkLst>
            <pc:docMk/>
            <pc:sldMk cId="3803122314" sldId="2249"/>
            <ac:spMk id="45" creationId="{99B6D50A-B294-4D0F-8B1E-9B38F1A523C9}"/>
          </ac:spMkLst>
        </pc:spChg>
        <pc:spChg chg="add mod">
          <ac:chgData name="Aurelien Domont" userId="6da7715ce44349b3" providerId="LiveId" clId="{365A8E39-D1EE-4FEE-9D5E-3CC57D750A89}" dt="2021-09-22T05:56:11.285" v="3526"/>
          <ac:spMkLst>
            <pc:docMk/>
            <pc:sldMk cId="3803122314" sldId="2249"/>
            <ac:spMk id="46" creationId="{0C1E9E94-3187-4E28-A3E8-6D938E1E36FC}"/>
          </ac:spMkLst>
        </pc:spChg>
        <pc:spChg chg="add mod">
          <ac:chgData name="Aurelien Domont" userId="6da7715ce44349b3" providerId="LiveId" clId="{365A8E39-D1EE-4FEE-9D5E-3CC57D750A89}" dt="2021-09-22T05:56:11.285" v="3526"/>
          <ac:spMkLst>
            <pc:docMk/>
            <pc:sldMk cId="3803122314" sldId="2249"/>
            <ac:spMk id="47" creationId="{DF8F2D9C-C6D5-420E-A6CA-DABA3F278C41}"/>
          </ac:spMkLst>
        </pc:spChg>
        <pc:spChg chg="add mod">
          <ac:chgData name="Aurelien Domont" userId="6da7715ce44349b3" providerId="LiveId" clId="{365A8E39-D1EE-4FEE-9D5E-3CC57D750A89}" dt="2021-09-22T05:56:11.285" v="3526"/>
          <ac:spMkLst>
            <pc:docMk/>
            <pc:sldMk cId="3803122314" sldId="2249"/>
            <ac:spMk id="48" creationId="{8B5BE61E-CDDB-4AE1-9944-013194E926A4}"/>
          </ac:spMkLst>
        </pc:spChg>
        <pc:spChg chg="add mod">
          <ac:chgData name="Aurelien Domont" userId="6da7715ce44349b3" providerId="LiveId" clId="{365A8E39-D1EE-4FEE-9D5E-3CC57D750A89}" dt="2021-09-22T05:56:11.285" v="3526"/>
          <ac:spMkLst>
            <pc:docMk/>
            <pc:sldMk cId="3803122314" sldId="2249"/>
            <ac:spMk id="49" creationId="{2B937D59-C264-4807-919D-50F2812E1036}"/>
          </ac:spMkLst>
        </pc:spChg>
        <pc:spChg chg="add mod">
          <ac:chgData name="Aurelien Domont" userId="6da7715ce44349b3" providerId="LiveId" clId="{365A8E39-D1EE-4FEE-9D5E-3CC57D750A89}" dt="2021-09-22T05:56:11.285" v="3526"/>
          <ac:spMkLst>
            <pc:docMk/>
            <pc:sldMk cId="3803122314" sldId="2249"/>
            <ac:spMk id="50" creationId="{481A89CF-0D73-491D-8282-F8F0DCC1BB60}"/>
          </ac:spMkLst>
        </pc:spChg>
        <pc:spChg chg="add mod">
          <ac:chgData name="Aurelien Domont" userId="6da7715ce44349b3" providerId="LiveId" clId="{365A8E39-D1EE-4FEE-9D5E-3CC57D750A89}" dt="2021-09-22T05:56:11.285" v="3526"/>
          <ac:spMkLst>
            <pc:docMk/>
            <pc:sldMk cId="3803122314" sldId="2249"/>
            <ac:spMk id="51" creationId="{87F524F2-DB0A-497B-A015-6AB8BB50C7DC}"/>
          </ac:spMkLst>
        </pc:spChg>
        <pc:spChg chg="add mod">
          <ac:chgData name="Aurelien Domont" userId="6da7715ce44349b3" providerId="LiveId" clId="{365A8E39-D1EE-4FEE-9D5E-3CC57D750A89}" dt="2021-09-22T05:56:11.285" v="3526"/>
          <ac:spMkLst>
            <pc:docMk/>
            <pc:sldMk cId="3803122314" sldId="2249"/>
            <ac:spMk id="52" creationId="{1C7F0B0F-3163-40F7-B092-B169DE5DF34F}"/>
          </ac:spMkLst>
        </pc:spChg>
        <pc:spChg chg="mod">
          <ac:chgData name="Aurelien Domont" userId="6da7715ce44349b3" providerId="LiveId" clId="{365A8E39-D1EE-4FEE-9D5E-3CC57D750A89}" dt="2021-09-22T06:01:09.430" v="3581" actId="20577"/>
          <ac:spMkLst>
            <pc:docMk/>
            <pc:sldMk cId="3803122314" sldId="2249"/>
            <ac:spMk id="54" creationId="{3049FC8B-EC07-4FAB-9A2A-E25F30FAD3DB}"/>
          </ac:spMkLst>
        </pc:spChg>
        <pc:spChg chg="mod">
          <ac:chgData name="Aurelien Domont" userId="6da7715ce44349b3" providerId="LiveId" clId="{365A8E39-D1EE-4FEE-9D5E-3CC57D750A89}" dt="2021-09-22T06:04:11.221" v="3721" actId="20577"/>
          <ac:spMkLst>
            <pc:docMk/>
            <pc:sldMk cId="3803122314" sldId="2249"/>
            <ac:spMk id="55" creationId="{B6BBF957-02CB-4753-8A2A-72CFCA193CD0}"/>
          </ac:spMkLst>
        </pc:spChg>
        <pc:spChg chg="mod">
          <ac:chgData name="Aurelien Domont" userId="6da7715ce44349b3" providerId="LiveId" clId="{365A8E39-D1EE-4FEE-9D5E-3CC57D750A89}" dt="2021-09-22T06:05:37.938" v="3809" actId="20577"/>
          <ac:spMkLst>
            <pc:docMk/>
            <pc:sldMk cId="3803122314" sldId="2249"/>
            <ac:spMk id="56" creationId="{021B3EC8-FEE0-4DE5-A9ED-9B096D09C664}"/>
          </ac:spMkLst>
        </pc:spChg>
        <pc:spChg chg="mod">
          <ac:chgData name="Aurelien Domont" userId="6da7715ce44349b3" providerId="LiveId" clId="{365A8E39-D1EE-4FEE-9D5E-3CC57D750A89}" dt="2021-09-22T06:08:25.606" v="3917" actId="20577"/>
          <ac:spMkLst>
            <pc:docMk/>
            <pc:sldMk cId="3803122314" sldId="2249"/>
            <ac:spMk id="57" creationId="{60A302CD-8BA3-4164-A028-36B7D833D215}"/>
          </ac:spMkLst>
        </pc:spChg>
        <pc:spChg chg="mod">
          <ac:chgData name="Aurelien Domont" userId="6da7715ce44349b3" providerId="LiveId" clId="{365A8E39-D1EE-4FEE-9D5E-3CC57D750A89}" dt="2021-09-22T06:12:46.805" v="4014" actId="20577"/>
          <ac:spMkLst>
            <pc:docMk/>
            <pc:sldMk cId="3803122314" sldId="2249"/>
            <ac:spMk id="58" creationId="{39B1B9DF-818B-4061-B61E-D8FD2EB8FCA5}"/>
          </ac:spMkLst>
        </pc:spChg>
        <pc:spChg chg="add mod">
          <ac:chgData name="Aurelien Domont" userId="6da7715ce44349b3" providerId="LiveId" clId="{365A8E39-D1EE-4FEE-9D5E-3CC57D750A89}" dt="2021-09-22T06:02:25.315" v="3714" actId="1035"/>
          <ac:spMkLst>
            <pc:docMk/>
            <pc:sldMk cId="3803122314" sldId="2249"/>
            <ac:spMk id="59" creationId="{47D07FE2-2696-4C97-8F35-2CE77D3847CA}"/>
          </ac:spMkLst>
        </pc:spChg>
        <pc:spChg chg="add mod">
          <ac:chgData name="Aurelien Domont" userId="6da7715ce44349b3" providerId="LiveId" clId="{365A8E39-D1EE-4FEE-9D5E-3CC57D750A89}" dt="2021-09-22T06:10:09.605" v="3980" actId="20577"/>
          <ac:spMkLst>
            <pc:docMk/>
            <pc:sldMk cId="3803122314" sldId="2249"/>
            <ac:spMk id="60" creationId="{EC994E38-37BF-4241-ADAB-2AE4B667994E}"/>
          </ac:spMkLst>
        </pc:spChg>
        <pc:spChg chg="add mod">
          <ac:chgData name="Aurelien Domont" userId="6da7715ce44349b3" providerId="LiveId" clId="{365A8E39-D1EE-4FEE-9D5E-3CC57D750A89}" dt="2021-09-22T06:12:55.823" v="4024" actId="1035"/>
          <ac:spMkLst>
            <pc:docMk/>
            <pc:sldMk cId="3803122314" sldId="2249"/>
            <ac:spMk id="61" creationId="{63F7EB39-9B80-4769-B09D-ECBBC2A6CE88}"/>
          </ac:spMkLst>
        </pc:spChg>
        <pc:spChg chg="add mod">
          <ac:chgData name="Aurelien Domont" userId="6da7715ce44349b3" providerId="LiveId" clId="{365A8E39-D1EE-4FEE-9D5E-3CC57D750A89}" dt="2021-09-22T06:05:28.775" v="3803" actId="20577"/>
          <ac:spMkLst>
            <pc:docMk/>
            <pc:sldMk cId="3803122314" sldId="2249"/>
            <ac:spMk id="62" creationId="{066FFD46-14D4-43F4-A930-149DC8CEE749}"/>
          </ac:spMkLst>
        </pc:spChg>
        <pc:spChg chg="add mod">
          <ac:chgData name="Aurelien Domont" userId="6da7715ce44349b3" providerId="LiveId" clId="{365A8E39-D1EE-4FEE-9D5E-3CC57D750A89}" dt="2021-09-22T06:10:36.008" v="4010" actId="20577"/>
          <ac:spMkLst>
            <pc:docMk/>
            <pc:sldMk cId="3803122314" sldId="2249"/>
            <ac:spMk id="63" creationId="{61087AA6-5327-4B82-993E-69A1259B9DAB}"/>
          </ac:spMkLst>
        </pc:spChg>
        <pc:spChg chg="add del mod">
          <ac:chgData name="Aurelien Domont" userId="6da7715ce44349b3" providerId="LiveId" clId="{365A8E39-D1EE-4FEE-9D5E-3CC57D750A89}" dt="2021-09-22T05:56:29.818" v="3527" actId="478"/>
          <ac:spMkLst>
            <pc:docMk/>
            <pc:sldMk cId="3803122314" sldId="2249"/>
            <ac:spMk id="64" creationId="{0A366659-F234-4E93-BB25-1005F526A90C}"/>
          </ac:spMkLst>
        </pc:spChg>
        <pc:spChg chg="add del mod">
          <ac:chgData name="Aurelien Domont" userId="6da7715ce44349b3" providerId="LiveId" clId="{365A8E39-D1EE-4FEE-9D5E-3CC57D750A89}" dt="2021-09-22T05:56:29.818" v="3527" actId="478"/>
          <ac:spMkLst>
            <pc:docMk/>
            <pc:sldMk cId="3803122314" sldId="2249"/>
            <ac:spMk id="65" creationId="{AA0B581C-E015-4F70-B078-F3A20DD59E71}"/>
          </ac:spMkLst>
        </pc:spChg>
        <pc:spChg chg="add del mod">
          <ac:chgData name="Aurelien Domont" userId="6da7715ce44349b3" providerId="LiveId" clId="{365A8E39-D1EE-4FEE-9D5E-3CC57D750A89}" dt="2021-09-22T05:56:29.818" v="3527" actId="478"/>
          <ac:spMkLst>
            <pc:docMk/>
            <pc:sldMk cId="3803122314" sldId="2249"/>
            <ac:spMk id="66" creationId="{6BA1615E-BD4E-4CE4-AB38-C5653AF6FB5A}"/>
          </ac:spMkLst>
        </pc:spChg>
        <pc:spChg chg="add del mod">
          <ac:chgData name="Aurelien Domont" userId="6da7715ce44349b3" providerId="LiveId" clId="{365A8E39-D1EE-4FEE-9D5E-3CC57D750A89}" dt="2021-09-22T05:56:29.818" v="3527" actId="478"/>
          <ac:spMkLst>
            <pc:docMk/>
            <pc:sldMk cId="3803122314" sldId="2249"/>
            <ac:spMk id="67" creationId="{4BF68D90-1737-4DBD-8CA6-E16EEB959B9C}"/>
          </ac:spMkLst>
        </pc:spChg>
        <pc:spChg chg="add del mod">
          <ac:chgData name="Aurelien Domont" userId="6da7715ce44349b3" providerId="LiveId" clId="{365A8E39-D1EE-4FEE-9D5E-3CC57D750A89}" dt="2021-09-22T05:56:29.818" v="3527" actId="478"/>
          <ac:spMkLst>
            <pc:docMk/>
            <pc:sldMk cId="3803122314" sldId="2249"/>
            <ac:spMk id="68" creationId="{8E77B60B-8129-465F-972C-1FDFD663D349}"/>
          </ac:spMkLst>
        </pc:spChg>
        <pc:spChg chg="add del mod">
          <ac:chgData name="Aurelien Domont" userId="6da7715ce44349b3" providerId="LiveId" clId="{365A8E39-D1EE-4FEE-9D5E-3CC57D750A89}" dt="2021-09-22T05:56:29.818" v="3527" actId="478"/>
          <ac:spMkLst>
            <pc:docMk/>
            <pc:sldMk cId="3803122314" sldId="2249"/>
            <ac:spMk id="69" creationId="{24C6D5CF-2030-47D1-B7A4-4AA7AB37523D}"/>
          </ac:spMkLst>
        </pc:spChg>
        <pc:spChg chg="add del mod">
          <ac:chgData name="Aurelien Domont" userId="6da7715ce44349b3" providerId="LiveId" clId="{365A8E39-D1EE-4FEE-9D5E-3CC57D750A89}" dt="2021-09-22T05:56:29.818" v="3527" actId="478"/>
          <ac:spMkLst>
            <pc:docMk/>
            <pc:sldMk cId="3803122314" sldId="2249"/>
            <ac:spMk id="70" creationId="{EAACBF14-DD7A-4C2B-AEA9-45F214EE34A1}"/>
          </ac:spMkLst>
        </pc:spChg>
        <pc:spChg chg="add del mod">
          <ac:chgData name="Aurelien Domont" userId="6da7715ce44349b3" providerId="LiveId" clId="{365A8E39-D1EE-4FEE-9D5E-3CC57D750A89}" dt="2021-09-22T05:56:29.818" v="3527" actId="478"/>
          <ac:spMkLst>
            <pc:docMk/>
            <pc:sldMk cId="3803122314" sldId="2249"/>
            <ac:spMk id="71" creationId="{8DD4FAD9-34B4-4802-BBE9-1348FC42E298}"/>
          </ac:spMkLst>
        </pc:spChg>
        <pc:spChg chg="add del mod">
          <ac:chgData name="Aurelien Domont" userId="6da7715ce44349b3" providerId="LiveId" clId="{365A8E39-D1EE-4FEE-9D5E-3CC57D750A89}" dt="2021-09-22T05:56:29.818" v="3527" actId="478"/>
          <ac:spMkLst>
            <pc:docMk/>
            <pc:sldMk cId="3803122314" sldId="2249"/>
            <ac:spMk id="72" creationId="{65EE2C96-B19B-44F4-B150-80B1B2CE66F3}"/>
          </ac:spMkLst>
        </pc:spChg>
        <pc:spChg chg="add del mod">
          <ac:chgData name="Aurelien Domont" userId="6da7715ce44349b3" providerId="LiveId" clId="{365A8E39-D1EE-4FEE-9D5E-3CC57D750A89}" dt="2021-09-22T05:57:31.768" v="3538" actId="478"/>
          <ac:spMkLst>
            <pc:docMk/>
            <pc:sldMk cId="3803122314" sldId="2249"/>
            <ac:spMk id="73" creationId="{F261CAE2-F5E6-4DA1-9759-D2BEAC7AC134}"/>
          </ac:spMkLst>
        </pc:spChg>
        <pc:spChg chg="add del mod">
          <ac:chgData name="Aurelien Domont" userId="6da7715ce44349b3" providerId="LiveId" clId="{365A8E39-D1EE-4FEE-9D5E-3CC57D750A89}" dt="2021-09-22T05:57:31.768" v="3538" actId="478"/>
          <ac:spMkLst>
            <pc:docMk/>
            <pc:sldMk cId="3803122314" sldId="2249"/>
            <ac:spMk id="74" creationId="{47A8B487-4EA0-4208-9931-8641C9B9DD90}"/>
          </ac:spMkLst>
        </pc:spChg>
        <pc:spChg chg="add del mod">
          <ac:chgData name="Aurelien Domont" userId="6da7715ce44349b3" providerId="LiveId" clId="{365A8E39-D1EE-4FEE-9D5E-3CC57D750A89}" dt="2021-09-22T05:57:31.768" v="3538" actId="478"/>
          <ac:spMkLst>
            <pc:docMk/>
            <pc:sldMk cId="3803122314" sldId="2249"/>
            <ac:spMk id="75" creationId="{66CDE6C8-0A21-4A7D-9412-8C4DC2218C29}"/>
          </ac:spMkLst>
        </pc:spChg>
        <pc:spChg chg="add mod">
          <ac:chgData name="Aurelien Domont" userId="6da7715ce44349b3" providerId="LiveId" clId="{365A8E39-D1EE-4FEE-9D5E-3CC57D750A89}" dt="2021-09-22T06:17:04.853" v="4238" actId="20577"/>
          <ac:spMkLst>
            <pc:docMk/>
            <pc:sldMk cId="3803122314" sldId="2249"/>
            <ac:spMk id="87" creationId="{97A9D4FC-0843-4477-A7B4-85DA8107A3A5}"/>
          </ac:spMkLst>
        </pc:spChg>
        <pc:grpChg chg="add mod">
          <ac:chgData name="Aurelien Domont" userId="6da7715ce44349b3" providerId="LiveId" clId="{365A8E39-D1EE-4FEE-9D5E-3CC57D750A89}" dt="2021-09-22T05:56:11.285" v="3526"/>
          <ac:grpSpMkLst>
            <pc:docMk/>
            <pc:sldMk cId="3803122314" sldId="2249"/>
            <ac:grpSpMk id="53" creationId="{0A5325EB-E675-41A1-82F8-6A8AE32555E7}"/>
          </ac:grpSpMkLst>
        </pc:grpChg>
        <pc:picChg chg="add mod">
          <ac:chgData name="Aurelien Domont" userId="6da7715ce44349b3" providerId="LiveId" clId="{365A8E39-D1EE-4FEE-9D5E-3CC57D750A89}" dt="2021-09-22T05:57:16.106" v="3536" actId="207"/>
          <ac:picMkLst>
            <pc:docMk/>
            <pc:sldMk cId="3803122314" sldId="2249"/>
            <ac:picMk id="4" creationId="{325EE201-69AA-4933-ABAD-008FDAA5E480}"/>
          </ac:picMkLst>
        </pc:picChg>
        <pc:picChg chg="add mod">
          <ac:chgData name="Aurelien Domont" userId="6da7715ce44349b3" providerId="LiveId" clId="{365A8E39-D1EE-4FEE-9D5E-3CC57D750A89}" dt="2021-09-22T05:57:24.127" v="3537" actId="408"/>
          <ac:picMkLst>
            <pc:docMk/>
            <pc:sldMk cId="3803122314" sldId="2249"/>
            <ac:picMk id="76" creationId="{3C03AECA-1AE2-4B66-A3F4-995A498468FA}"/>
          </ac:picMkLst>
        </pc:picChg>
        <pc:picChg chg="add mod">
          <ac:chgData name="Aurelien Domont" userId="6da7715ce44349b3" providerId="LiveId" clId="{365A8E39-D1EE-4FEE-9D5E-3CC57D750A89}" dt="2021-09-22T05:57:24.127" v="3537" actId="408"/>
          <ac:picMkLst>
            <pc:docMk/>
            <pc:sldMk cId="3803122314" sldId="2249"/>
            <ac:picMk id="77" creationId="{80E979AA-A232-40A3-91CB-4976D1020362}"/>
          </ac:picMkLst>
        </pc:picChg>
        <pc:picChg chg="add mod">
          <ac:chgData name="Aurelien Domont" userId="6da7715ce44349b3" providerId="LiveId" clId="{365A8E39-D1EE-4FEE-9D5E-3CC57D750A89}" dt="2021-09-22T05:57:24.127" v="3537" actId="408"/>
          <ac:picMkLst>
            <pc:docMk/>
            <pc:sldMk cId="3803122314" sldId="2249"/>
            <ac:picMk id="78" creationId="{1D31D3E2-EED1-4C85-A884-A816E699436E}"/>
          </ac:picMkLst>
        </pc:picChg>
        <pc:picChg chg="add mod">
          <ac:chgData name="Aurelien Domont" userId="6da7715ce44349b3" providerId="LiveId" clId="{365A8E39-D1EE-4FEE-9D5E-3CC57D750A89}" dt="2021-09-22T05:57:24.127" v="3537" actId="408"/>
          <ac:picMkLst>
            <pc:docMk/>
            <pc:sldMk cId="3803122314" sldId="2249"/>
            <ac:picMk id="79" creationId="{3FC4BA47-6FF7-44DE-8366-543F245633CB}"/>
          </ac:picMkLst>
        </pc:picChg>
        <pc:picChg chg="add mod">
          <ac:chgData name="Aurelien Domont" userId="6da7715ce44349b3" providerId="LiveId" clId="{365A8E39-D1EE-4FEE-9D5E-3CC57D750A89}" dt="2021-09-22T05:57:24.127" v="3537" actId="408"/>
          <ac:picMkLst>
            <pc:docMk/>
            <pc:sldMk cId="3803122314" sldId="2249"/>
            <ac:picMk id="80" creationId="{79D1351A-400A-4388-9C79-3E504F8E790F}"/>
          </ac:picMkLst>
        </pc:picChg>
        <pc:picChg chg="add mod">
          <ac:chgData name="Aurelien Domont" userId="6da7715ce44349b3" providerId="LiveId" clId="{365A8E39-D1EE-4FEE-9D5E-3CC57D750A89}" dt="2021-09-22T05:57:24.127" v="3537" actId="408"/>
          <ac:picMkLst>
            <pc:docMk/>
            <pc:sldMk cId="3803122314" sldId="2249"/>
            <ac:picMk id="81" creationId="{8C0429A2-B28E-4B6D-B2D7-7E3FEF861EA7}"/>
          </ac:picMkLst>
        </pc:picChg>
        <pc:picChg chg="add mod">
          <ac:chgData name="Aurelien Domont" userId="6da7715ce44349b3" providerId="LiveId" clId="{365A8E39-D1EE-4FEE-9D5E-3CC57D750A89}" dt="2021-09-22T05:57:24.127" v="3537" actId="408"/>
          <ac:picMkLst>
            <pc:docMk/>
            <pc:sldMk cId="3803122314" sldId="2249"/>
            <ac:picMk id="82" creationId="{CADC6DDD-A32A-4D63-8A1D-9883C95AE6C7}"/>
          </ac:picMkLst>
        </pc:picChg>
        <pc:picChg chg="add mod">
          <ac:chgData name="Aurelien Domont" userId="6da7715ce44349b3" providerId="LiveId" clId="{365A8E39-D1EE-4FEE-9D5E-3CC57D750A89}" dt="2021-09-22T05:57:16.106" v="3536" actId="207"/>
          <ac:picMkLst>
            <pc:docMk/>
            <pc:sldMk cId="3803122314" sldId="2249"/>
            <ac:picMk id="83" creationId="{78F446D5-4B6B-4F0F-9E6D-12EB69C50FBD}"/>
          </ac:picMkLst>
        </pc:picChg>
        <pc:picChg chg="add mod">
          <ac:chgData name="Aurelien Domont" userId="6da7715ce44349b3" providerId="LiveId" clId="{365A8E39-D1EE-4FEE-9D5E-3CC57D750A89}" dt="2021-09-22T05:57:38.421" v="3545" actId="1038"/>
          <ac:picMkLst>
            <pc:docMk/>
            <pc:sldMk cId="3803122314" sldId="2249"/>
            <ac:picMk id="84" creationId="{1D3A5DB3-E4B9-4A48-B4DA-F6C47A69D7D5}"/>
          </ac:picMkLst>
        </pc:picChg>
        <pc:picChg chg="add mod">
          <ac:chgData name="Aurelien Domont" userId="6da7715ce44349b3" providerId="LiveId" clId="{365A8E39-D1EE-4FEE-9D5E-3CC57D750A89}" dt="2021-09-22T05:57:38.421" v="3545" actId="1038"/>
          <ac:picMkLst>
            <pc:docMk/>
            <pc:sldMk cId="3803122314" sldId="2249"/>
            <ac:picMk id="85" creationId="{54E201D2-79A7-4295-8250-B0552A5EF659}"/>
          </ac:picMkLst>
        </pc:picChg>
        <pc:picChg chg="add mod">
          <ac:chgData name="Aurelien Domont" userId="6da7715ce44349b3" providerId="LiveId" clId="{365A8E39-D1EE-4FEE-9D5E-3CC57D750A89}" dt="2021-09-22T05:57:38.421" v="3545" actId="1038"/>
          <ac:picMkLst>
            <pc:docMk/>
            <pc:sldMk cId="3803122314" sldId="2249"/>
            <ac:picMk id="86" creationId="{CA97928E-E0C0-4670-A968-93218FEA5384}"/>
          </ac:picMkLst>
        </pc:picChg>
        <pc:cxnChg chg="add mod">
          <ac:chgData name="Aurelien Domont" userId="6da7715ce44349b3" providerId="LiveId" clId="{365A8E39-D1EE-4FEE-9D5E-3CC57D750A89}" dt="2021-09-22T05:56:11.285" v="3526"/>
          <ac:cxnSpMkLst>
            <pc:docMk/>
            <pc:sldMk cId="3803122314" sldId="2249"/>
            <ac:cxnSpMk id="20" creationId="{20AEA728-4591-4064-BF22-1324704EA368}"/>
          </ac:cxnSpMkLst>
        </pc:cxnChg>
        <pc:cxnChg chg="add mod">
          <ac:chgData name="Aurelien Domont" userId="6da7715ce44349b3" providerId="LiveId" clId="{365A8E39-D1EE-4FEE-9D5E-3CC57D750A89}" dt="2021-09-22T05:56:11.285" v="3526"/>
          <ac:cxnSpMkLst>
            <pc:docMk/>
            <pc:sldMk cId="3803122314" sldId="2249"/>
            <ac:cxnSpMk id="22" creationId="{7B6444FD-EB2F-44DE-BE6A-97C67CD0E2C1}"/>
          </ac:cxnSpMkLst>
        </pc:cxnChg>
        <pc:cxnChg chg="add mod">
          <ac:chgData name="Aurelien Domont" userId="6da7715ce44349b3" providerId="LiveId" clId="{365A8E39-D1EE-4FEE-9D5E-3CC57D750A89}" dt="2021-09-22T05:56:11.285" v="3526"/>
          <ac:cxnSpMkLst>
            <pc:docMk/>
            <pc:sldMk cId="3803122314" sldId="2249"/>
            <ac:cxnSpMk id="37" creationId="{208A4C52-4E6B-427A-83A1-ECE3F1DB2785}"/>
          </ac:cxnSpMkLst>
        </pc:cxnChg>
        <pc:cxnChg chg="add mod">
          <ac:chgData name="Aurelien Domont" userId="6da7715ce44349b3" providerId="LiveId" clId="{365A8E39-D1EE-4FEE-9D5E-3CC57D750A89}" dt="2021-09-22T05:56:11.285" v="3526"/>
          <ac:cxnSpMkLst>
            <pc:docMk/>
            <pc:sldMk cId="3803122314" sldId="2249"/>
            <ac:cxnSpMk id="39" creationId="{C5A847E9-72AE-4EF6-9F3B-B03DC7C7295E}"/>
          </ac:cxnSpMkLst>
        </pc:cxnChg>
        <pc:cxnChg chg="add mod">
          <ac:chgData name="Aurelien Domont" userId="6da7715ce44349b3" providerId="LiveId" clId="{365A8E39-D1EE-4FEE-9D5E-3CC57D750A89}" dt="2021-09-22T05:56:11.285" v="3526"/>
          <ac:cxnSpMkLst>
            <pc:docMk/>
            <pc:sldMk cId="3803122314" sldId="2249"/>
            <ac:cxnSpMk id="41" creationId="{382DAA24-2637-4218-B03C-3D3372996660}"/>
          </ac:cxnSpMkLst>
        </pc:cxnChg>
      </pc:sldChg>
      <pc:sldChg chg="add del">
        <pc:chgData name="Aurelien Domont" userId="6da7715ce44349b3" providerId="LiveId" clId="{365A8E39-D1EE-4FEE-9D5E-3CC57D750A89}" dt="2021-09-22T06:00:14.826" v="3547"/>
        <pc:sldMkLst>
          <pc:docMk/>
          <pc:sldMk cId="3931699924" sldId="2250"/>
        </pc:sldMkLst>
      </pc:sldChg>
    </pc:docChg>
  </pc:docChgLst>
  <pc:docChgLst>
    <pc:chgData name="Aurelien Domont" userId="6da7715ce44349b3" providerId="LiveId" clId="{FC254C3F-0DA2-4768-8E5C-80D9632154D7}"/>
    <pc:docChg chg="undo redo custSel addSld delSld modSld">
      <pc:chgData name="Aurelien Domont" userId="6da7715ce44349b3" providerId="LiveId" clId="{FC254C3F-0DA2-4768-8E5C-80D9632154D7}" dt="2021-05-26T03:48:30.244" v="6934" actId="1036"/>
      <pc:docMkLst>
        <pc:docMk/>
      </pc:docMkLst>
      <pc:sldChg chg="modSp mod">
        <pc:chgData name="Aurelien Domont" userId="6da7715ce44349b3" providerId="LiveId" clId="{FC254C3F-0DA2-4768-8E5C-80D9632154D7}" dt="2021-05-19T07:29:02.992" v="0"/>
        <pc:sldMkLst>
          <pc:docMk/>
          <pc:sldMk cId="3131901387" sldId="256"/>
        </pc:sldMkLst>
        <pc:spChg chg="mod">
          <ac:chgData name="Aurelien Domont" userId="6da7715ce44349b3" providerId="LiveId" clId="{FC254C3F-0DA2-4768-8E5C-80D9632154D7}" dt="2021-05-19T07:29:02.992" v="0"/>
          <ac:spMkLst>
            <pc:docMk/>
            <pc:sldMk cId="3131901387" sldId="256"/>
            <ac:spMk id="2" creationId="{5261080C-C60C-4746-B6B1-A9A4FFA86785}"/>
          </ac:spMkLst>
        </pc:spChg>
      </pc:sldChg>
      <pc:sldChg chg="add">
        <pc:chgData name="Aurelien Domont" userId="6da7715ce44349b3" providerId="LiveId" clId="{FC254C3F-0DA2-4768-8E5C-80D9632154D7}" dt="2021-05-21T05:18:17.966" v="6306"/>
        <pc:sldMkLst>
          <pc:docMk/>
          <pc:sldMk cId="3717827458" sldId="1557"/>
        </pc:sldMkLst>
      </pc:sldChg>
      <pc:sldChg chg="add del">
        <pc:chgData name="Aurelien Domont" userId="6da7715ce44349b3" providerId="LiveId" clId="{FC254C3F-0DA2-4768-8E5C-80D9632154D7}" dt="2021-05-21T05:20:16.738" v="6364" actId="47"/>
        <pc:sldMkLst>
          <pc:docMk/>
          <pc:sldMk cId="1563821867" sldId="1558"/>
        </pc:sldMkLst>
      </pc:sldChg>
      <pc:sldChg chg="add del">
        <pc:chgData name="Aurelien Domont" userId="6da7715ce44349b3" providerId="LiveId" clId="{FC254C3F-0DA2-4768-8E5C-80D9632154D7}" dt="2021-05-21T05:20:18.032" v="6365" actId="47"/>
        <pc:sldMkLst>
          <pc:docMk/>
          <pc:sldMk cId="3714485705" sldId="1559"/>
        </pc:sldMkLst>
      </pc:sldChg>
      <pc:sldChg chg="add del">
        <pc:chgData name="Aurelien Domont" userId="6da7715ce44349b3" providerId="LiveId" clId="{FC254C3F-0DA2-4768-8E5C-80D9632154D7}" dt="2021-05-21T05:20:23.596" v="6366" actId="47"/>
        <pc:sldMkLst>
          <pc:docMk/>
          <pc:sldMk cId="1395428385" sldId="1560"/>
        </pc:sldMkLst>
      </pc:sldChg>
      <pc:sldChg chg="add del">
        <pc:chgData name="Aurelien Domont" userId="6da7715ce44349b3" providerId="LiveId" clId="{FC254C3F-0DA2-4768-8E5C-80D9632154D7}" dt="2021-05-21T05:20:24.621" v="6367" actId="47"/>
        <pc:sldMkLst>
          <pc:docMk/>
          <pc:sldMk cId="1374354552" sldId="1561"/>
        </pc:sldMkLst>
      </pc:sldChg>
      <pc:sldChg chg="add">
        <pc:chgData name="Aurelien Domont" userId="6da7715ce44349b3" providerId="LiveId" clId="{FC254C3F-0DA2-4768-8E5C-80D9632154D7}" dt="2021-05-21T05:18:17.966" v="6306"/>
        <pc:sldMkLst>
          <pc:docMk/>
          <pc:sldMk cId="2317062444" sldId="1562"/>
        </pc:sldMkLst>
      </pc:sldChg>
      <pc:sldChg chg="add">
        <pc:chgData name="Aurelien Domont" userId="6da7715ce44349b3" providerId="LiveId" clId="{FC254C3F-0DA2-4768-8E5C-80D9632154D7}" dt="2021-05-21T05:18:17.966" v="6306"/>
        <pc:sldMkLst>
          <pc:docMk/>
          <pc:sldMk cId="3132763004" sldId="1563"/>
        </pc:sldMkLst>
      </pc:sldChg>
      <pc:sldChg chg="add del">
        <pc:chgData name="Aurelien Domont" userId="6da7715ce44349b3" providerId="LiveId" clId="{FC254C3F-0DA2-4768-8E5C-80D9632154D7}" dt="2021-05-21T05:20:33.021" v="6368" actId="47"/>
        <pc:sldMkLst>
          <pc:docMk/>
          <pc:sldMk cId="2403579107" sldId="1564"/>
        </pc:sldMkLst>
      </pc:sldChg>
      <pc:sldChg chg="add del">
        <pc:chgData name="Aurelien Domont" userId="6da7715ce44349b3" providerId="LiveId" clId="{FC254C3F-0DA2-4768-8E5C-80D9632154D7}" dt="2021-05-21T05:20:39.245" v="6369" actId="47"/>
        <pc:sldMkLst>
          <pc:docMk/>
          <pc:sldMk cId="4129558631" sldId="1565"/>
        </pc:sldMkLst>
      </pc:sldChg>
      <pc:sldChg chg="add">
        <pc:chgData name="Aurelien Domont" userId="6da7715ce44349b3" providerId="LiveId" clId="{FC254C3F-0DA2-4768-8E5C-80D9632154D7}" dt="2021-05-21T05:18:17.966" v="6306"/>
        <pc:sldMkLst>
          <pc:docMk/>
          <pc:sldMk cId="3562844070" sldId="1567"/>
        </pc:sldMkLst>
      </pc:sldChg>
      <pc:sldChg chg="add">
        <pc:chgData name="Aurelien Domont" userId="6da7715ce44349b3" providerId="LiveId" clId="{FC254C3F-0DA2-4768-8E5C-80D9632154D7}" dt="2021-05-21T05:18:17.966" v="6306"/>
        <pc:sldMkLst>
          <pc:docMk/>
          <pc:sldMk cId="2606253982" sldId="1568"/>
        </pc:sldMkLst>
      </pc:sldChg>
      <pc:sldChg chg="add">
        <pc:chgData name="Aurelien Domont" userId="6da7715ce44349b3" providerId="LiveId" clId="{FC254C3F-0DA2-4768-8E5C-80D9632154D7}" dt="2021-05-21T05:18:17.966" v="6306"/>
        <pc:sldMkLst>
          <pc:docMk/>
          <pc:sldMk cId="705146496" sldId="1569"/>
        </pc:sldMkLst>
      </pc:sldChg>
      <pc:sldChg chg="add">
        <pc:chgData name="Aurelien Domont" userId="6da7715ce44349b3" providerId="LiveId" clId="{FC254C3F-0DA2-4768-8E5C-80D9632154D7}" dt="2021-05-21T05:18:17.966" v="6306"/>
        <pc:sldMkLst>
          <pc:docMk/>
          <pc:sldMk cId="4209253123" sldId="1570"/>
        </pc:sldMkLst>
      </pc:sldChg>
      <pc:sldChg chg="add">
        <pc:chgData name="Aurelien Domont" userId="6da7715ce44349b3" providerId="LiveId" clId="{FC254C3F-0DA2-4768-8E5C-80D9632154D7}" dt="2021-05-21T05:18:17.966" v="6306"/>
        <pc:sldMkLst>
          <pc:docMk/>
          <pc:sldMk cId="548172080" sldId="1571"/>
        </pc:sldMkLst>
      </pc:sldChg>
      <pc:sldChg chg="add del">
        <pc:chgData name="Aurelien Domont" userId="6da7715ce44349b3" providerId="LiveId" clId="{FC254C3F-0DA2-4768-8E5C-80D9632154D7}" dt="2021-05-21T05:20:40.648" v="6370" actId="47"/>
        <pc:sldMkLst>
          <pc:docMk/>
          <pc:sldMk cId="3565364508" sldId="1667"/>
        </pc:sldMkLst>
      </pc:sldChg>
      <pc:sldChg chg="modSp add mod">
        <pc:chgData name="Aurelien Domont" userId="6da7715ce44349b3" providerId="LiveId" clId="{FC254C3F-0DA2-4768-8E5C-80D9632154D7}" dt="2021-05-20T05:07:38.313" v="2299"/>
        <pc:sldMkLst>
          <pc:docMk/>
          <pc:sldMk cId="2644303535" sldId="1668"/>
        </pc:sldMkLst>
        <pc:spChg chg="mod">
          <ac:chgData name="Aurelien Domont" userId="6da7715ce44349b3" providerId="LiveId" clId="{FC254C3F-0DA2-4768-8E5C-80D9632154D7}" dt="2021-05-20T05:07:38.313" v="2299"/>
          <ac:spMkLst>
            <pc:docMk/>
            <pc:sldMk cId="2644303535" sldId="1668"/>
            <ac:spMk id="16" creationId="{6C2BB713-9637-4B9B-938F-E9768876782A}"/>
          </ac:spMkLst>
        </pc:spChg>
        <pc:spChg chg="mod">
          <ac:chgData name="Aurelien Domont" userId="6da7715ce44349b3" providerId="LiveId" clId="{FC254C3F-0DA2-4768-8E5C-80D9632154D7}" dt="2021-05-20T04:17:23.454" v="329"/>
          <ac:spMkLst>
            <pc:docMk/>
            <pc:sldMk cId="2644303535" sldId="1668"/>
            <ac:spMk id="20" creationId="{362164A1-5341-42AC-9B30-4F8CD419751C}"/>
          </ac:spMkLst>
        </pc:spChg>
        <pc:spChg chg="mod">
          <ac:chgData name="Aurelien Domont" userId="6da7715ce44349b3" providerId="LiveId" clId="{FC254C3F-0DA2-4768-8E5C-80D9632154D7}" dt="2021-05-20T04:17:52.536" v="332"/>
          <ac:spMkLst>
            <pc:docMk/>
            <pc:sldMk cId="2644303535" sldId="1668"/>
            <ac:spMk id="22" creationId="{A761C647-4E6D-4247-832C-123F42A345DF}"/>
          </ac:spMkLst>
        </pc:spChg>
        <pc:spChg chg="mod">
          <ac:chgData name="Aurelien Domont" userId="6da7715ce44349b3" providerId="LiveId" clId="{FC254C3F-0DA2-4768-8E5C-80D9632154D7}" dt="2021-05-20T04:17:55.181" v="333"/>
          <ac:spMkLst>
            <pc:docMk/>
            <pc:sldMk cId="2644303535" sldId="1668"/>
            <ac:spMk id="38" creationId="{9154E016-91D3-424E-A420-78147246AA84}"/>
          </ac:spMkLst>
        </pc:spChg>
      </pc:sldChg>
      <pc:sldChg chg="del">
        <pc:chgData name="Aurelien Domont" userId="6da7715ce44349b3" providerId="LiveId" clId="{FC254C3F-0DA2-4768-8E5C-80D9632154D7}" dt="2021-05-19T07:29:14.222" v="1" actId="47"/>
        <pc:sldMkLst>
          <pc:docMk/>
          <pc:sldMk cId="317099162" sldId="1749"/>
        </pc:sldMkLst>
      </pc:sldChg>
      <pc:sldChg chg="addSp delSp modSp del mod">
        <pc:chgData name="Aurelien Domont" userId="6da7715ce44349b3" providerId="LiveId" clId="{FC254C3F-0DA2-4768-8E5C-80D9632154D7}" dt="2021-05-19T07:34:09.926" v="116" actId="47"/>
        <pc:sldMkLst>
          <pc:docMk/>
          <pc:sldMk cId="1659127470" sldId="1924"/>
        </pc:sldMkLst>
        <pc:spChg chg="mod">
          <ac:chgData name="Aurelien Domont" userId="6da7715ce44349b3" providerId="LiveId" clId="{FC254C3F-0DA2-4768-8E5C-80D9632154D7}" dt="2021-05-19T07:30:52.444" v="86" actId="3064"/>
          <ac:spMkLst>
            <pc:docMk/>
            <pc:sldMk cId="1659127470" sldId="1924"/>
            <ac:spMk id="17" creationId="{469F466A-B940-41E3-B12F-110D72502BCE}"/>
          </ac:spMkLst>
        </pc:spChg>
        <pc:spChg chg="mod">
          <ac:chgData name="Aurelien Domont" userId="6da7715ce44349b3" providerId="LiveId" clId="{FC254C3F-0DA2-4768-8E5C-80D9632154D7}" dt="2021-05-19T07:31:02.239" v="89" actId="3064"/>
          <ac:spMkLst>
            <pc:docMk/>
            <pc:sldMk cId="1659127470" sldId="1924"/>
            <ac:spMk id="20" creationId="{3A4E6A8C-908C-49FF-9BF8-90A9FC12224D}"/>
          </ac:spMkLst>
        </pc:spChg>
        <pc:spChg chg="mod">
          <ac:chgData name="Aurelien Domont" userId="6da7715ce44349b3" providerId="LiveId" clId="{FC254C3F-0DA2-4768-8E5C-80D9632154D7}" dt="2021-05-19T07:31:05.450" v="92" actId="3064"/>
          <ac:spMkLst>
            <pc:docMk/>
            <pc:sldMk cId="1659127470" sldId="1924"/>
            <ac:spMk id="21" creationId="{16FAC062-BB56-4A49-9044-4444E78429DF}"/>
          </ac:spMkLst>
        </pc:spChg>
        <pc:cxnChg chg="add mod">
          <ac:chgData name="Aurelien Domont" userId="6da7715ce44349b3" providerId="LiveId" clId="{FC254C3F-0DA2-4768-8E5C-80D9632154D7}" dt="2021-05-19T07:31:53.513" v="108" actId="1038"/>
          <ac:cxnSpMkLst>
            <pc:docMk/>
            <pc:sldMk cId="1659127470" sldId="1924"/>
            <ac:cxnSpMk id="14" creationId="{8AF311F1-81EB-4B55-BE8A-132238822DBA}"/>
          </ac:cxnSpMkLst>
        </pc:cxnChg>
        <pc:cxnChg chg="del">
          <ac:chgData name="Aurelien Domont" userId="6da7715ce44349b3" providerId="LiveId" clId="{FC254C3F-0DA2-4768-8E5C-80D9632154D7}" dt="2021-05-19T07:31:46.749" v="103" actId="478"/>
          <ac:cxnSpMkLst>
            <pc:docMk/>
            <pc:sldMk cId="1659127470" sldId="1924"/>
            <ac:cxnSpMk id="15" creationId="{E60236D9-FA17-46A1-923E-EAFAC3847145}"/>
          </ac:cxnSpMkLst>
        </pc:cxnChg>
        <pc:cxnChg chg="mod">
          <ac:chgData name="Aurelien Domont" userId="6da7715ce44349b3" providerId="LiveId" clId="{FC254C3F-0DA2-4768-8E5C-80D9632154D7}" dt="2021-05-19T07:31:41.619" v="102" actId="14100"/>
          <ac:cxnSpMkLst>
            <pc:docMk/>
            <pc:sldMk cId="1659127470" sldId="1924"/>
            <ac:cxnSpMk id="22" creationId="{8F214CF9-01D2-40DC-9D6F-DAC675E238D0}"/>
          </ac:cxnSpMkLst>
        </pc:cxnChg>
      </pc:sldChg>
      <pc:sldChg chg="addSp modSp add mod">
        <pc:chgData name="Aurelien Domont" userId="6da7715ce44349b3" providerId="LiveId" clId="{FC254C3F-0DA2-4768-8E5C-80D9632154D7}" dt="2021-05-21T05:36:04.331" v="6672" actId="790"/>
        <pc:sldMkLst>
          <pc:docMk/>
          <pc:sldMk cId="597933806" sldId="1925"/>
        </pc:sldMkLst>
        <pc:spChg chg="mod">
          <ac:chgData name="Aurelien Domont" userId="6da7715ce44349b3" providerId="LiveId" clId="{FC254C3F-0DA2-4768-8E5C-80D9632154D7}" dt="2021-05-21T05:18:49.626" v="6309"/>
          <ac:spMkLst>
            <pc:docMk/>
            <pc:sldMk cId="597933806" sldId="1925"/>
            <ac:spMk id="16" creationId="{6C2BB713-9637-4B9B-938F-E9768876782A}"/>
          </ac:spMkLst>
        </pc:spChg>
        <pc:spChg chg="add mod">
          <ac:chgData name="Aurelien Domont" userId="6da7715ce44349b3" providerId="LiveId" clId="{FC254C3F-0DA2-4768-8E5C-80D9632154D7}" dt="2021-05-21T05:36:04.331" v="6672" actId="790"/>
          <ac:spMkLst>
            <pc:docMk/>
            <pc:sldMk cId="597933806" sldId="1925"/>
            <ac:spMk id="22" creationId="{7AEEE1DB-4711-4CCE-8742-65DB0C1C9720}"/>
          </ac:spMkLst>
        </pc:spChg>
      </pc:sldChg>
      <pc:sldChg chg="addSp delSp modSp add mod">
        <pc:chgData name="Aurelien Domont" userId="6da7715ce44349b3" providerId="LiveId" clId="{FC254C3F-0DA2-4768-8E5C-80D9632154D7}" dt="2021-05-21T05:20:07.528" v="6362"/>
        <pc:sldMkLst>
          <pc:docMk/>
          <pc:sldMk cId="317604876" sldId="1935"/>
        </pc:sldMkLst>
        <pc:spChg chg="mod">
          <ac:chgData name="Aurelien Domont" userId="6da7715ce44349b3" providerId="LiveId" clId="{FC254C3F-0DA2-4768-8E5C-80D9632154D7}" dt="2021-05-21T05:18:40.174" v="6307"/>
          <ac:spMkLst>
            <pc:docMk/>
            <pc:sldMk cId="317604876" sldId="1935"/>
            <ac:spMk id="16" creationId="{6C2BB713-9637-4B9B-938F-E9768876782A}"/>
          </ac:spMkLst>
        </pc:spChg>
        <pc:spChg chg="del">
          <ac:chgData name="Aurelien Domont" userId="6da7715ce44349b3" providerId="LiveId" clId="{FC254C3F-0DA2-4768-8E5C-80D9632154D7}" dt="2021-05-21T05:20:03.136" v="6361" actId="478"/>
          <ac:spMkLst>
            <pc:docMk/>
            <pc:sldMk cId="317604876" sldId="1935"/>
            <ac:spMk id="31" creationId="{F2910152-26EA-4A4F-A548-F391FBF15EFE}"/>
          </ac:spMkLst>
        </pc:spChg>
        <pc:spChg chg="add mod">
          <ac:chgData name="Aurelien Domont" userId="6da7715ce44349b3" providerId="LiveId" clId="{FC254C3F-0DA2-4768-8E5C-80D9632154D7}" dt="2021-05-21T05:20:07.528" v="6362"/>
          <ac:spMkLst>
            <pc:docMk/>
            <pc:sldMk cId="317604876" sldId="1935"/>
            <ac:spMk id="32" creationId="{E6DB8426-07F9-4F36-8F9C-EF53BA3CAC3C}"/>
          </ac:spMkLst>
        </pc:spChg>
      </pc:sldChg>
      <pc:sldChg chg="addSp modSp add mod">
        <pc:chgData name="Aurelien Domont" userId="6da7715ce44349b3" providerId="LiveId" clId="{FC254C3F-0DA2-4768-8E5C-80D9632154D7}" dt="2021-05-21T05:20:09.453" v="6363"/>
        <pc:sldMkLst>
          <pc:docMk/>
          <pc:sldMk cId="460632394" sldId="2035"/>
        </pc:sldMkLst>
        <pc:spChg chg="mod">
          <ac:chgData name="Aurelien Domont" userId="6da7715ce44349b3" providerId="LiveId" clId="{FC254C3F-0DA2-4768-8E5C-80D9632154D7}" dt="2021-05-21T05:19:58.760" v="6360" actId="20577"/>
          <ac:spMkLst>
            <pc:docMk/>
            <pc:sldMk cId="460632394" sldId="2035"/>
            <ac:spMk id="16" creationId="{6C2BB713-9637-4B9B-938F-E9768876782A}"/>
          </ac:spMkLst>
        </pc:spChg>
        <pc:spChg chg="add mod">
          <ac:chgData name="Aurelien Domont" userId="6da7715ce44349b3" providerId="LiveId" clId="{FC254C3F-0DA2-4768-8E5C-80D9632154D7}" dt="2021-05-21T05:20:09.453" v="6363"/>
          <ac:spMkLst>
            <pc:docMk/>
            <pc:sldMk cId="460632394" sldId="2035"/>
            <ac:spMk id="30" creationId="{98B34461-5CBC-4FD1-A323-A10363C0B01C}"/>
          </ac:spMkLst>
        </pc:spChg>
      </pc:sldChg>
      <pc:sldChg chg="addSp delSp modSp add mod">
        <pc:chgData name="Aurelien Domont" userId="6da7715ce44349b3" providerId="LiveId" clId="{FC254C3F-0DA2-4768-8E5C-80D9632154D7}" dt="2021-05-26T03:43:37.829" v="6812" actId="478"/>
        <pc:sldMkLst>
          <pc:docMk/>
          <pc:sldMk cId="1454614553" sldId="2150"/>
        </pc:sldMkLst>
        <pc:spChg chg="add del mod">
          <ac:chgData name="Aurelien Domont" userId="6da7715ce44349b3" providerId="LiveId" clId="{FC254C3F-0DA2-4768-8E5C-80D9632154D7}" dt="2021-05-26T03:43:37.829" v="6812" actId="478"/>
          <ac:spMkLst>
            <pc:docMk/>
            <pc:sldMk cId="1454614553" sldId="2150"/>
            <ac:spMk id="2" creationId="{26686994-57E5-44DB-9E32-9CBED64B8154}"/>
          </ac:spMkLst>
        </pc:spChg>
        <pc:spChg chg="add mod">
          <ac:chgData name="Aurelien Domont" userId="6da7715ce44349b3" providerId="LiveId" clId="{FC254C3F-0DA2-4768-8E5C-80D9632154D7}" dt="2021-05-19T07:32:48.488" v="112" actId="207"/>
          <ac:spMkLst>
            <pc:docMk/>
            <pc:sldMk cId="1454614553" sldId="2150"/>
            <ac:spMk id="14" creationId="{36A26ACC-668A-45EB-AB81-A5D2319F44E0}"/>
          </ac:spMkLst>
        </pc:spChg>
        <pc:spChg chg="mod">
          <ac:chgData name="Aurelien Domont" userId="6da7715ce44349b3" providerId="LiveId" clId="{FC254C3F-0DA2-4768-8E5C-80D9632154D7}" dt="2021-05-19T07:35:26.873" v="180" actId="14100"/>
          <ac:spMkLst>
            <pc:docMk/>
            <pc:sldMk cId="1454614553" sldId="2150"/>
            <ac:spMk id="16" creationId="{6C2BB713-9637-4B9B-938F-E9768876782A}"/>
          </ac:spMkLst>
        </pc:spChg>
        <pc:spChg chg="del mod">
          <ac:chgData name="Aurelien Domont" userId="6da7715ce44349b3" providerId="LiveId" clId="{FC254C3F-0DA2-4768-8E5C-80D9632154D7}" dt="2021-05-19T07:32:07.388" v="109" actId="478"/>
          <ac:spMkLst>
            <pc:docMk/>
            <pc:sldMk cId="1454614553" sldId="2150"/>
            <ac:spMk id="17" creationId="{469F466A-B940-41E3-B12F-110D72502BCE}"/>
          </ac:spMkLst>
        </pc:spChg>
        <pc:spChg chg="add mod">
          <ac:chgData name="Aurelien Domont" userId="6da7715ce44349b3" providerId="LiveId" clId="{FC254C3F-0DA2-4768-8E5C-80D9632154D7}" dt="2021-05-19T07:32:09.679" v="111"/>
          <ac:spMkLst>
            <pc:docMk/>
            <pc:sldMk cId="1454614553" sldId="2150"/>
            <ac:spMk id="18" creationId="{9A832821-28E7-48AC-A8A2-089BEA8CDC39}"/>
          </ac:spMkLst>
        </pc:spChg>
        <pc:spChg chg="add mod">
          <ac:chgData name="Aurelien Domont" userId="6da7715ce44349b3" providerId="LiveId" clId="{FC254C3F-0DA2-4768-8E5C-80D9632154D7}" dt="2021-05-19T07:32:09.679" v="111"/>
          <ac:spMkLst>
            <pc:docMk/>
            <pc:sldMk cId="1454614553" sldId="2150"/>
            <ac:spMk id="19" creationId="{F6B03F74-2EBD-489D-B3D9-985345DDBB2F}"/>
          </ac:spMkLst>
        </pc:spChg>
        <pc:spChg chg="del mod">
          <ac:chgData name="Aurelien Domont" userId="6da7715ce44349b3" providerId="LiveId" clId="{FC254C3F-0DA2-4768-8E5C-80D9632154D7}" dt="2021-05-19T07:32:07.388" v="109" actId="478"/>
          <ac:spMkLst>
            <pc:docMk/>
            <pc:sldMk cId="1454614553" sldId="2150"/>
            <ac:spMk id="20" creationId="{3A4E6A8C-908C-49FF-9BF8-90A9FC12224D}"/>
          </ac:spMkLst>
        </pc:spChg>
        <pc:spChg chg="del mod">
          <ac:chgData name="Aurelien Domont" userId="6da7715ce44349b3" providerId="LiveId" clId="{FC254C3F-0DA2-4768-8E5C-80D9632154D7}" dt="2021-05-19T07:32:07.388" v="109" actId="478"/>
          <ac:spMkLst>
            <pc:docMk/>
            <pc:sldMk cId="1454614553" sldId="2150"/>
            <ac:spMk id="21" creationId="{16FAC062-BB56-4A49-9044-4444E78429DF}"/>
          </ac:spMkLst>
        </pc:spChg>
        <pc:spChg chg="del">
          <ac:chgData name="Aurelien Domont" userId="6da7715ce44349b3" providerId="LiveId" clId="{FC254C3F-0DA2-4768-8E5C-80D9632154D7}" dt="2021-05-19T07:32:07.388" v="109" actId="478"/>
          <ac:spMkLst>
            <pc:docMk/>
            <pc:sldMk cId="1454614553" sldId="2150"/>
            <ac:spMk id="24" creationId="{95714746-22CF-48C5-AD51-9D9AE6E5F2C8}"/>
          </ac:spMkLst>
        </pc:spChg>
        <pc:spChg chg="del">
          <ac:chgData name="Aurelien Domont" userId="6da7715ce44349b3" providerId="LiveId" clId="{FC254C3F-0DA2-4768-8E5C-80D9632154D7}" dt="2021-05-19T07:32:09.272" v="110" actId="478"/>
          <ac:spMkLst>
            <pc:docMk/>
            <pc:sldMk cId="1454614553" sldId="2150"/>
            <ac:spMk id="25" creationId="{0B462317-12E0-4745-AFEC-1DF156C5EB17}"/>
          </ac:spMkLst>
        </pc:spChg>
        <pc:spChg chg="add mod">
          <ac:chgData name="Aurelien Domont" userId="6da7715ce44349b3" providerId="LiveId" clId="{FC254C3F-0DA2-4768-8E5C-80D9632154D7}" dt="2021-05-21T05:31:16.011" v="6618" actId="20577"/>
          <ac:spMkLst>
            <pc:docMk/>
            <pc:sldMk cId="1454614553" sldId="2150"/>
            <ac:spMk id="26" creationId="{C340F2EE-BA16-482F-BFE4-F0465F9C2085}"/>
          </ac:spMkLst>
        </pc:spChg>
        <pc:spChg chg="add mod">
          <ac:chgData name="Aurelien Domont" userId="6da7715ce44349b3" providerId="LiveId" clId="{FC254C3F-0DA2-4768-8E5C-80D9632154D7}" dt="2021-05-19T07:32:09.679" v="111"/>
          <ac:spMkLst>
            <pc:docMk/>
            <pc:sldMk cId="1454614553" sldId="2150"/>
            <ac:spMk id="27" creationId="{BE7FA4F0-3C49-4DE0-BDCC-49225B7F31CF}"/>
          </ac:spMkLst>
        </pc:spChg>
        <pc:spChg chg="del">
          <ac:chgData name="Aurelien Domont" userId="6da7715ce44349b3" providerId="LiveId" clId="{FC254C3F-0DA2-4768-8E5C-80D9632154D7}" dt="2021-05-19T07:32:07.388" v="109" actId="478"/>
          <ac:spMkLst>
            <pc:docMk/>
            <pc:sldMk cId="1454614553" sldId="2150"/>
            <ac:spMk id="28" creationId="{46F541B2-19A4-48FE-BC36-F95AB3359448}"/>
          </ac:spMkLst>
        </pc:spChg>
        <pc:spChg chg="add mod">
          <ac:chgData name="Aurelien Domont" userId="6da7715ce44349b3" providerId="LiveId" clId="{FC254C3F-0DA2-4768-8E5C-80D9632154D7}" dt="2021-05-21T05:29:16.766" v="6606"/>
          <ac:spMkLst>
            <pc:docMk/>
            <pc:sldMk cId="1454614553" sldId="2150"/>
            <ac:spMk id="29" creationId="{EBEF7E50-77EE-4FFC-9C8F-5F1C532B51AE}"/>
          </ac:spMkLst>
        </pc:spChg>
        <pc:spChg chg="add del mod ord">
          <ac:chgData name="Aurelien Domont" userId="6da7715ce44349b3" providerId="LiveId" clId="{FC254C3F-0DA2-4768-8E5C-80D9632154D7}" dt="2021-05-19T07:34:22.049" v="118" actId="478"/>
          <ac:spMkLst>
            <pc:docMk/>
            <pc:sldMk cId="1454614553" sldId="2150"/>
            <ac:spMk id="31" creationId="{4718F1EB-0A8B-495A-9DBB-755E2C25FCAC}"/>
          </ac:spMkLst>
        </pc:spChg>
        <pc:cxnChg chg="del">
          <ac:chgData name="Aurelien Domont" userId="6da7715ce44349b3" providerId="LiveId" clId="{FC254C3F-0DA2-4768-8E5C-80D9632154D7}" dt="2021-05-19T07:32:07.388" v="109" actId="478"/>
          <ac:cxnSpMkLst>
            <pc:docMk/>
            <pc:sldMk cId="1454614553" sldId="2150"/>
            <ac:cxnSpMk id="15" creationId="{E60236D9-FA17-46A1-923E-EAFAC3847145}"/>
          </ac:cxnSpMkLst>
        </pc:cxnChg>
        <pc:cxnChg chg="del">
          <ac:chgData name="Aurelien Domont" userId="6da7715ce44349b3" providerId="LiveId" clId="{FC254C3F-0DA2-4768-8E5C-80D9632154D7}" dt="2021-05-19T07:32:07.388" v="109" actId="478"/>
          <ac:cxnSpMkLst>
            <pc:docMk/>
            <pc:sldMk cId="1454614553" sldId="2150"/>
            <ac:cxnSpMk id="22" creationId="{8F214CF9-01D2-40DC-9D6F-DAC675E238D0}"/>
          </ac:cxnSpMkLst>
        </pc:cxnChg>
        <pc:cxnChg chg="add mod">
          <ac:chgData name="Aurelien Domont" userId="6da7715ce44349b3" providerId="LiveId" clId="{FC254C3F-0DA2-4768-8E5C-80D9632154D7}" dt="2021-05-19T07:32:09.679" v="111"/>
          <ac:cxnSpMkLst>
            <pc:docMk/>
            <pc:sldMk cId="1454614553" sldId="2150"/>
            <ac:cxnSpMk id="23" creationId="{9524914C-01E2-4876-AA5F-45B90B2C700C}"/>
          </ac:cxnSpMkLst>
        </pc:cxnChg>
        <pc:cxnChg chg="add mod">
          <ac:chgData name="Aurelien Domont" userId="6da7715ce44349b3" providerId="LiveId" clId="{FC254C3F-0DA2-4768-8E5C-80D9632154D7}" dt="2021-05-19T07:32:09.679" v="111"/>
          <ac:cxnSpMkLst>
            <pc:docMk/>
            <pc:sldMk cId="1454614553" sldId="2150"/>
            <ac:cxnSpMk id="30" creationId="{9E0C0224-1FC0-455B-98BE-E51330CE79E6}"/>
          </ac:cxnSpMkLst>
        </pc:cxnChg>
      </pc:sldChg>
      <pc:sldChg chg="modSp add del mod">
        <pc:chgData name="Aurelien Domont" userId="6da7715ce44349b3" providerId="LiveId" clId="{FC254C3F-0DA2-4768-8E5C-80D9632154D7}" dt="2021-05-26T03:44:09.635" v="6820" actId="47"/>
        <pc:sldMkLst>
          <pc:docMk/>
          <pc:sldMk cId="823145180" sldId="2151"/>
        </pc:sldMkLst>
        <pc:spChg chg="mod">
          <ac:chgData name="Aurelien Domont" userId="6da7715ce44349b3" providerId="LiveId" clId="{FC254C3F-0DA2-4768-8E5C-80D9632154D7}" dt="2021-05-19T07:34:40.939" v="151" actId="20577"/>
          <ac:spMkLst>
            <pc:docMk/>
            <pc:sldMk cId="823145180" sldId="2151"/>
            <ac:spMk id="16" creationId="{6C2BB713-9637-4B9B-938F-E9768876782A}"/>
          </ac:spMkLst>
        </pc:spChg>
        <pc:spChg chg="mod">
          <ac:chgData name="Aurelien Domont" userId="6da7715ce44349b3" providerId="LiveId" clId="{FC254C3F-0DA2-4768-8E5C-80D9632154D7}" dt="2021-05-19T07:34:49.487" v="152" actId="14100"/>
          <ac:spMkLst>
            <pc:docMk/>
            <pc:sldMk cId="823145180" sldId="2151"/>
            <ac:spMk id="31" creationId="{4718F1EB-0A8B-495A-9DBB-755E2C25FCAC}"/>
          </ac:spMkLst>
        </pc:spChg>
      </pc:sldChg>
      <pc:sldChg chg="add del">
        <pc:chgData name="Aurelien Domont" userId="6da7715ce44349b3" providerId="LiveId" clId="{FC254C3F-0DA2-4768-8E5C-80D9632154D7}" dt="2021-05-20T04:28:22.848" v="998" actId="47"/>
        <pc:sldMkLst>
          <pc:docMk/>
          <pc:sldMk cId="686820726" sldId="2152"/>
        </pc:sldMkLst>
      </pc:sldChg>
      <pc:sldChg chg="add del">
        <pc:chgData name="Aurelien Domont" userId="6da7715ce44349b3" providerId="LiveId" clId="{FC254C3F-0DA2-4768-8E5C-80D9632154D7}" dt="2021-05-20T04:18:54.096" v="338" actId="47"/>
        <pc:sldMkLst>
          <pc:docMk/>
          <pc:sldMk cId="301668990" sldId="2153"/>
        </pc:sldMkLst>
      </pc:sldChg>
      <pc:sldChg chg="addSp delSp modSp add mod">
        <pc:chgData name="Aurelien Domont" userId="6da7715ce44349b3" providerId="LiveId" clId="{FC254C3F-0DA2-4768-8E5C-80D9632154D7}" dt="2021-05-20T06:33:35.276" v="4344" actId="20577"/>
        <pc:sldMkLst>
          <pc:docMk/>
          <pc:sldMk cId="1834764109" sldId="2154"/>
        </pc:sldMkLst>
        <pc:spChg chg="add mod">
          <ac:chgData name="Aurelien Domont" userId="6da7715ce44349b3" providerId="LiveId" clId="{FC254C3F-0DA2-4768-8E5C-80D9632154D7}" dt="2021-05-20T04:27:12.229" v="865" actId="20577"/>
          <ac:spMkLst>
            <pc:docMk/>
            <pc:sldMk cId="1834764109" sldId="2154"/>
            <ac:spMk id="11" creationId="{371D8888-B10B-4998-9616-C86E06EA77CA}"/>
          </ac:spMkLst>
        </pc:spChg>
        <pc:spChg chg="add del mod">
          <ac:chgData name="Aurelien Domont" userId="6da7715ce44349b3" providerId="LiveId" clId="{FC254C3F-0DA2-4768-8E5C-80D9632154D7}" dt="2021-05-20T04:20:56.089" v="423" actId="478"/>
          <ac:spMkLst>
            <pc:docMk/>
            <pc:sldMk cId="1834764109" sldId="2154"/>
            <ac:spMk id="12" creationId="{1E16AFCE-D241-4B32-8588-69650253EA28}"/>
          </ac:spMkLst>
        </pc:spChg>
        <pc:spChg chg="add mod">
          <ac:chgData name="Aurelien Domont" userId="6da7715ce44349b3" providerId="LiveId" clId="{FC254C3F-0DA2-4768-8E5C-80D9632154D7}" dt="2021-05-20T06:33:35.276" v="4344" actId="20577"/>
          <ac:spMkLst>
            <pc:docMk/>
            <pc:sldMk cId="1834764109" sldId="2154"/>
            <ac:spMk id="14" creationId="{9CED0840-328D-4DCE-AD10-BB956B9ABC80}"/>
          </ac:spMkLst>
        </pc:spChg>
        <pc:spChg chg="add del mod">
          <ac:chgData name="Aurelien Domont" userId="6da7715ce44349b3" providerId="LiveId" clId="{FC254C3F-0DA2-4768-8E5C-80D9632154D7}" dt="2021-05-20T04:26:33.453" v="816" actId="478"/>
          <ac:spMkLst>
            <pc:docMk/>
            <pc:sldMk cId="1834764109" sldId="2154"/>
            <ac:spMk id="15" creationId="{AF66F315-68AB-4FD0-91D9-3BF38456303D}"/>
          </ac:spMkLst>
        </pc:spChg>
        <pc:spChg chg="mod">
          <ac:chgData name="Aurelien Domont" userId="6da7715ce44349b3" providerId="LiveId" clId="{FC254C3F-0DA2-4768-8E5C-80D9632154D7}" dt="2021-05-20T05:07:34.725" v="2298" actId="20577"/>
          <ac:spMkLst>
            <pc:docMk/>
            <pc:sldMk cId="1834764109" sldId="2154"/>
            <ac:spMk id="16" creationId="{6C2BB713-9637-4B9B-938F-E9768876782A}"/>
          </ac:spMkLst>
        </pc:spChg>
        <pc:spChg chg="add mod">
          <ac:chgData name="Aurelien Domont" userId="6da7715ce44349b3" providerId="LiveId" clId="{FC254C3F-0DA2-4768-8E5C-80D9632154D7}" dt="2021-05-20T04:28:00.703" v="986" actId="20577"/>
          <ac:spMkLst>
            <pc:docMk/>
            <pc:sldMk cId="1834764109" sldId="2154"/>
            <ac:spMk id="17" creationId="{87711988-7EBA-49BA-81DD-28BB5612F524}"/>
          </ac:spMkLst>
        </pc:spChg>
      </pc:sldChg>
      <pc:sldChg chg="addSp delSp modSp add mod">
        <pc:chgData name="Aurelien Domont" userId="6da7715ce44349b3" providerId="LiveId" clId="{FC254C3F-0DA2-4768-8E5C-80D9632154D7}" dt="2021-05-21T05:16:39.958" v="6301" actId="20577"/>
        <pc:sldMkLst>
          <pc:docMk/>
          <pc:sldMk cId="2346025138" sldId="2155"/>
        </pc:sldMkLst>
        <pc:spChg chg="add del mod">
          <ac:chgData name="Aurelien Domont" userId="6da7715ce44349b3" providerId="LiveId" clId="{FC254C3F-0DA2-4768-8E5C-80D9632154D7}" dt="2021-05-20T05:11:18.957" v="2372"/>
          <ac:spMkLst>
            <pc:docMk/>
            <pc:sldMk cId="2346025138" sldId="2155"/>
            <ac:spMk id="11" creationId="{847FAFE5-5358-40D4-9124-91AB800D3E9B}"/>
          </ac:spMkLst>
        </pc:spChg>
        <pc:spChg chg="add mod">
          <ac:chgData name="Aurelien Domont" userId="6da7715ce44349b3" providerId="LiveId" clId="{FC254C3F-0DA2-4768-8E5C-80D9632154D7}" dt="2021-05-20T06:41:08.714" v="4555" actId="1037"/>
          <ac:spMkLst>
            <pc:docMk/>
            <pc:sldMk cId="2346025138" sldId="2155"/>
            <ac:spMk id="12" creationId="{AEC3A11A-D585-4891-A7AB-E2CF58B637BD}"/>
          </ac:spMkLst>
        </pc:spChg>
        <pc:spChg chg="add mod">
          <ac:chgData name="Aurelien Domont" userId="6da7715ce44349b3" providerId="LiveId" clId="{FC254C3F-0DA2-4768-8E5C-80D9632154D7}" dt="2021-05-20T06:48:28.266" v="4747" actId="20577"/>
          <ac:spMkLst>
            <pc:docMk/>
            <pc:sldMk cId="2346025138" sldId="2155"/>
            <ac:spMk id="14" creationId="{AF2C9B93-915C-4105-9C97-819A28436820}"/>
          </ac:spMkLst>
        </pc:spChg>
        <pc:spChg chg="add mod">
          <ac:chgData name="Aurelien Domont" userId="6da7715ce44349b3" providerId="LiveId" clId="{FC254C3F-0DA2-4768-8E5C-80D9632154D7}" dt="2021-05-20T06:48:31.946" v="4748"/>
          <ac:spMkLst>
            <pc:docMk/>
            <pc:sldMk cId="2346025138" sldId="2155"/>
            <ac:spMk id="15" creationId="{6EBB799A-DD91-4C68-A23D-4F535C1DE6D0}"/>
          </ac:spMkLst>
        </pc:spChg>
        <pc:spChg chg="mod">
          <ac:chgData name="Aurelien Domont" userId="6da7715ce44349b3" providerId="LiveId" clId="{FC254C3F-0DA2-4768-8E5C-80D9632154D7}" dt="2021-05-21T05:16:39.958" v="6301" actId="20577"/>
          <ac:spMkLst>
            <pc:docMk/>
            <pc:sldMk cId="2346025138" sldId="2155"/>
            <ac:spMk id="16" creationId="{6C2BB713-9637-4B9B-938F-E9768876782A}"/>
          </ac:spMkLst>
        </pc:spChg>
        <pc:spChg chg="add mod">
          <ac:chgData name="Aurelien Domont" userId="6da7715ce44349b3" providerId="LiveId" clId="{FC254C3F-0DA2-4768-8E5C-80D9632154D7}" dt="2021-05-20T06:48:38.155" v="4751"/>
          <ac:spMkLst>
            <pc:docMk/>
            <pc:sldMk cId="2346025138" sldId="2155"/>
            <ac:spMk id="17" creationId="{CC6CAF77-0808-4A3C-A405-53BEB5C9BF32}"/>
          </ac:spMkLst>
        </pc:spChg>
        <pc:spChg chg="add mod">
          <ac:chgData name="Aurelien Domont" userId="6da7715ce44349b3" providerId="LiveId" clId="{FC254C3F-0DA2-4768-8E5C-80D9632154D7}" dt="2021-05-20T06:48:39.720" v="4752"/>
          <ac:spMkLst>
            <pc:docMk/>
            <pc:sldMk cId="2346025138" sldId="2155"/>
            <ac:spMk id="18" creationId="{03C8F5C1-E31C-4905-A68D-C6EAC402BE99}"/>
          </ac:spMkLst>
        </pc:spChg>
        <pc:spChg chg="del">
          <ac:chgData name="Aurelien Domont" userId="6da7715ce44349b3" providerId="LiveId" clId="{FC254C3F-0DA2-4768-8E5C-80D9632154D7}" dt="2021-05-20T04:30:10.155" v="1057" actId="478"/>
          <ac:spMkLst>
            <pc:docMk/>
            <pc:sldMk cId="2346025138" sldId="2155"/>
            <ac:spMk id="19" creationId="{3AA9EB7F-1B36-40BF-AD6F-03E9DD2EEF38}"/>
          </ac:spMkLst>
        </pc:spChg>
        <pc:spChg chg="del">
          <ac:chgData name="Aurelien Domont" userId="6da7715ce44349b3" providerId="LiveId" clId="{FC254C3F-0DA2-4768-8E5C-80D9632154D7}" dt="2021-05-20T04:30:10.155" v="1057" actId="478"/>
          <ac:spMkLst>
            <pc:docMk/>
            <pc:sldMk cId="2346025138" sldId="2155"/>
            <ac:spMk id="20" creationId="{362164A1-5341-42AC-9B30-4F8CD419751C}"/>
          </ac:spMkLst>
        </pc:spChg>
        <pc:spChg chg="del">
          <ac:chgData name="Aurelien Domont" userId="6da7715ce44349b3" providerId="LiveId" clId="{FC254C3F-0DA2-4768-8E5C-80D9632154D7}" dt="2021-05-20T04:30:10.155" v="1057" actId="478"/>
          <ac:spMkLst>
            <pc:docMk/>
            <pc:sldMk cId="2346025138" sldId="2155"/>
            <ac:spMk id="21" creationId="{8C0E48F5-72EC-402E-A6AD-C9C98E8F1032}"/>
          </ac:spMkLst>
        </pc:spChg>
        <pc:spChg chg="del">
          <ac:chgData name="Aurelien Domont" userId="6da7715ce44349b3" providerId="LiveId" clId="{FC254C3F-0DA2-4768-8E5C-80D9632154D7}" dt="2021-05-20T04:30:10.155" v="1057" actId="478"/>
          <ac:spMkLst>
            <pc:docMk/>
            <pc:sldMk cId="2346025138" sldId="2155"/>
            <ac:spMk id="22" creationId="{A761C647-4E6D-4247-832C-123F42A345DF}"/>
          </ac:spMkLst>
        </pc:spChg>
        <pc:spChg chg="del">
          <ac:chgData name="Aurelien Domont" userId="6da7715ce44349b3" providerId="LiveId" clId="{FC254C3F-0DA2-4768-8E5C-80D9632154D7}" dt="2021-05-20T04:30:10.155" v="1057" actId="478"/>
          <ac:spMkLst>
            <pc:docMk/>
            <pc:sldMk cId="2346025138" sldId="2155"/>
            <ac:spMk id="23" creationId="{BBBB2D5B-42A4-4DA3-8613-84688130AA74}"/>
          </ac:spMkLst>
        </pc:spChg>
        <pc:spChg chg="add mod">
          <ac:chgData name="Aurelien Domont" userId="6da7715ce44349b3" providerId="LiveId" clId="{FC254C3F-0DA2-4768-8E5C-80D9632154D7}" dt="2021-05-20T06:48:36.681" v="4750" actId="113"/>
          <ac:spMkLst>
            <pc:docMk/>
            <pc:sldMk cId="2346025138" sldId="2155"/>
            <ac:spMk id="24" creationId="{3921BBDB-53B5-4760-9FC7-6E553D430312}"/>
          </ac:spMkLst>
        </pc:spChg>
        <pc:spChg chg="add mod">
          <ac:chgData name="Aurelien Domont" userId="6da7715ce44349b3" providerId="LiveId" clId="{FC254C3F-0DA2-4768-8E5C-80D9632154D7}" dt="2021-05-20T06:48:41.256" v="4753"/>
          <ac:spMkLst>
            <pc:docMk/>
            <pc:sldMk cId="2346025138" sldId="2155"/>
            <ac:spMk id="30" creationId="{6C839CA0-84F2-4101-9721-20A5629A3053}"/>
          </ac:spMkLst>
        </pc:spChg>
        <pc:spChg chg="add del mod">
          <ac:chgData name="Aurelien Domont" userId="6da7715ce44349b3" providerId="LiveId" clId="{FC254C3F-0DA2-4768-8E5C-80D9632154D7}" dt="2021-05-20T06:37:22.538" v="4430" actId="478"/>
          <ac:spMkLst>
            <pc:docMk/>
            <pc:sldMk cId="2346025138" sldId="2155"/>
            <ac:spMk id="37" creationId="{A8B0F311-FDE1-4EDD-9C35-184651DDC7BD}"/>
          </ac:spMkLst>
        </pc:spChg>
        <pc:spChg chg="del">
          <ac:chgData name="Aurelien Domont" userId="6da7715ce44349b3" providerId="LiveId" clId="{FC254C3F-0DA2-4768-8E5C-80D9632154D7}" dt="2021-05-20T04:30:10.155" v="1057" actId="478"/>
          <ac:spMkLst>
            <pc:docMk/>
            <pc:sldMk cId="2346025138" sldId="2155"/>
            <ac:spMk id="38" creationId="{9154E016-91D3-424E-A420-78147246AA84}"/>
          </ac:spMkLst>
        </pc:spChg>
        <pc:spChg chg="add del mod">
          <ac:chgData name="Aurelien Domont" userId="6da7715ce44349b3" providerId="LiveId" clId="{FC254C3F-0DA2-4768-8E5C-80D9632154D7}" dt="2021-05-20T06:37:22.538" v="4430" actId="478"/>
          <ac:spMkLst>
            <pc:docMk/>
            <pc:sldMk cId="2346025138" sldId="2155"/>
            <ac:spMk id="39" creationId="{ACA8D0BE-00E4-4C62-964A-3862FFCEC88C}"/>
          </ac:spMkLst>
        </pc:spChg>
        <pc:spChg chg="add del mod">
          <ac:chgData name="Aurelien Domont" userId="6da7715ce44349b3" providerId="LiveId" clId="{FC254C3F-0DA2-4768-8E5C-80D9632154D7}" dt="2021-05-20T06:37:22.538" v="4430" actId="478"/>
          <ac:spMkLst>
            <pc:docMk/>
            <pc:sldMk cId="2346025138" sldId="2155"/>
            <ac:spMk id="40" creationId="{57A23AB8-689F-47D8-B44F-4449C7132B5A}"/>
          </ac:spMkLst>
        </pc:spChg>
        <pc:spChg chg="add del mod">
          <ac:chgData name="Aurelien Domont" userId="6da7715ce44349b3" providerId="LiveId" clId="{FC254C3F-0DA2-4768-8E5C-80D9632154D7}" dt="2021-05-20T06:37:22.538" v="4430" actId="478"/>
          <ac:spMkLst>
            <pc:docMk/>
            <pc:sldMk cId="2346025138" sldId="2155"/>
            <ac:spMk id="41" creationId="{0EA77320-5F41-4394-B6E4-28C2F0C8F59F}"/>
          </ac:spMkLst>
        </pc:spChg>
        <pc:spChg chg="add del mod">
          <ac:chgData name="Aurelien Domont" userId="6da7715ce44349b3" providerId="LiveId" clId="{FC254C3F-0DA2-4768-8E5C-80D9632154D7}" dt="2021-05-20T06:37:22.538" v="4430" actId="478"/>
          <ac:spMkLst>
            <pc:docMk/>
            <pc:sldMk cId="2346025138" sldId="2155"/>
            <ac:spMk id="42" creationId="{530C72FF-BB17-40DC-84B9-87F76A0F6EEE}"/>
          </ac:spMkLst>
        </pc:spChg>
        <pc:spChg chg="add del mod">
          <ac:chgData name="Aurelien Domont" userId="6da7715ce44349b3" providerId="LiveId" clId="{FC254C3F-0DA2-4768-8E5C-80D9632154D7}" dt="2021-05-20T06:37:22.538" v="4430" actId="478"/>
          <ac:spMkLst>
            <pc:docMk/>
            <pc:sldMk cId="2346025138" sldId="2155"/>
            <ac:spMk id="43" creationId="{145791CD-A027-4E98-B0C0-3CAB2F83EC1D}"/>
          </ac:spMkLst>
        </pc:spChg>
        <pc:spChg chg="add mod ord">
          <ac:chgData name="Aurelien Domont" userId="6da7715ce44349b3" providerId="LiveId" clId="{FC254C3F-0DA2-4768-8E5C-80D9632154D7}" dt="2021-05-20T06:41:02.328" v="4553" actId="1035"/>
          <ac:spMkLst>
            <pc:docMk/>
            <pc:sldMk cId="2346025138" sldId="2155"/>
            <ac:spMk id="60" creationId="{AD84A7F9-2952-47E8-B7AC-FD9CC201BB66}"/>
          </ac:spMkLst>
        </pc:spChg>
        <pc:spChg chg="add mod">
          <ac:chgData name="Aurelien Domont" userId="6da7715ce44349b3" providerId="LiveId" clId="{FC254C3F-0DA2-4768-8E5C-80D9632154D7}" dt="2021-05-20T06:41:02.328" v="4553" actId="1035"/>
          <ac:spMkLst>
            <pc:docMk/>
            <pc:sldMk cId="2346025138" sldId="2155"/>
            <ac:spMk id="65" creationId="{D6534CDC-674F-4AB4-8A22-79E1A8CD2E92}"/>
          </ac:spMkLst>
        </pc:spChg>
        <pc:spChg chg="add mod">
          <ac:chgData name="Aurelien Domont" userId="6da7715ce44349b3" providerId="LiveId" clId="{FC254C3F-0DA2-4768-8E5C-80D9632154D7}" dt="2021-05-20T06:48:51.169" v="4759"/>
          <ac:spMkLst>
            <pc:docMk/>
            <pc:sldMk cId="2346025138" sldId="2155"/>
            <ac:spMk id="66" creationId="{A663B09E-8C3F-443D-8C96-81B8EFA531E8}"/>
          </ac:spMkLst>
        </pc:spChg>
        <pc:spChg chg="add mod">
          <ac:chgData name="Aurelien Domont" userId="6da7715ce44349b3" providerId="LiveId" clId="{FC254C3F-0DA2-4768-8E5C-80D9632154D7}" dt="2021-05-20T06:48:49.725" v="4758"/>
          <ac:spMkLst>
            <pc:docMk/>
            <pc:sldMk cId="2346025138" sldId="2155"/>
            <ac:spMk id="67" creationId="{FE63F62A-3736-44BC-B67F-36124629F578}"/>
          </ac:spMkLst>
        </pc:spChg>
        <pc:spChg chg="add mod">
          <ac:chgData name="Aurelien Domont" userId="6da7715ce44349b3" providerId="LiveId" clId="{FC254C3F-0DA2-4768-8E5C-80D9632154D7}" dt="2021-05-20T06:48:47.089" v="4756"/>
          <ac:spMkLst>
            <pc:docMk/>
            <pc:sldMk cId="2346025138" sldId="2155"/>
            <ac:spMk id="68" creationId="{09FC8043-DFFE-45CA-BBDB-583DBFC2B262}"/>
          </ac:spMkLst>
        </pc:spChg>
        <pc:spChg chg="add mod">
          <ac:chgData name="Aurelien Domont" userId="6da7715ce44349b3" providerId="LiveId" clId="{FC254C3F-0DA2-4768-8E5C-80D9632154D7}" dt="2021-05-20T06:48:43.118" v="4754"/>
          <ac:spMkLst>
            <pc:docMk/>
            <pc:sldMk cId="2346025138" sldId="2155"/>
            <ac:spMk id="69" creationId="{0C2A6138-D911-46CA-BEC8-060061FF9F4B}"/>
          </ac:spMkLst>
        </pc:spChg>
        <pc:spChg chg="add mod">
          <ac:chgData name="Aurelien Domont" userId="6da7715ce44349b3" providerId="LiveId" clId="{FC254C3F-0DA2-4768-8E5C-80D9632154D7}" dt="2021-05-20T06:48:48.663" v="4757"/>
          <ac:spMkLst>
            <pc:docMk/>
            <pc:sldMk cId="2346025138" sldId="2155"/>
            <ac:spMk id="70" creationId="{11B80DD3-4AB5-4602-978F-A6D0EEE18F7E}"/>
          </ac:spMkLst>
        </pc:spChg>
        <pc:spChg chg="add mod">
          <ac:chgData name="Aurelien Domont" userId="6da7715ce44349b3" providerId="LiveId" clId="{FC254C3F-0DA2-4768-8E5C-80D9632154D7}" dt="2021-05-20T06:48:44.709" v="4755"/>
          <ac:spMkLst>
            <pc:docMk/>
            <pc:sldMk cId="2346025138" sldId="2155"/>
            <ac:spMk id="71" creationId="{3907F25A-692B-484D-82A9-855E646528BF}"/>
          </ac:spMkLst>
        </pc:spChg>
        <pc:spChg chg="add mod">
          <ac:chgData name="Aurelien Domont" userId="6da7715ce44349b3" providerId="LiveId" clId="{FC254C3F-0DA2-4768-8E5C-80D9632154D7}" dt="2021-05-20T06:41:16.663" v="4566" actId="20577"/>
          <ac:spMkLst>
            <pc:docMk/>
            <pc:sldMk cId="2346025138" sldId="2155"/>
            <ac:spMk id="72" creationId="{356FAF76-75C0-4939-ADA9-0D490880999E}"/>
          </ac:spMkLst>
        </pc:spChg>
        <pc:spChg chg="add mod">
          <ac:chgData name="Aurelien Domont" userId="6da7715ce44349b3" providerId="LiveId" clId="{FC254C3F-0DA2-4768-8E5C-80D9632154D7}" dt="2021-05-20T06:48:52.758" v="4760"/>
          <ac:spMkLst>
            <pc:docMk/>
            <pc:sldMk cId="2346025138" sldId="2155"/>
            <ac:spMk id="73" creationId="{B3864B19-E169-4A43-AF2C-5611FA7E9D59}"/>
          </ac:spMkLst>
        </pc:spChg>
        <pc:spChg chg="add mod">
          <ac:chgData name="Aurelien Domont" userId="6da7715ce44349b3" providerId="LiveId" clId="{FC254C3F-0DA2-4768-8E5C-80D9632154D7}" dt="2021-05-20T06:48:54.492" v="4761"/>
          <ac:spMkLst>
            <pc:docMk/>
            <pc:sldMk cId="2346025138" sldId="2155"/>
            <ac:spMk id="74" creationId="{835F7EF9-BE41-4A0C-9ED4-4810528F4D4B}"/>
          </ac:spMkLst>
        </pc:spChg>
        <pc:spChg chg="add mod">
          <ac:chgData name="Aurelien Domont" userId="6da7715ce44349b3" providerId="LiveId" clId="{FC254C3F-0DA2-4768-8E5C-80D9632154D7}" dt="2021-05-20T06:48:57.555" v="4763"/>
          <ac:spMkLst>
            <pc:docMk/>
            <pc:sldMk cId="2346025138" sldId="2155"/>
            <ac:spMk id="75" creationId="{148419C5-5A4D-4B41-80B7-802D22B58DA4}"/>
          </ac:spMkLst>
        </pc:spChg>
        <pc:spChg chg="add mod">
          <ac:chgData name="Aurelien Domont" userId="6da7715ce44349b3" providerId="LiveId" clId="{FC254C3F-0DA2-4768-8E5C-80D9632154D7}" dt="2021-05-20T06:49:01.145" v="4764"/>
          <ac:spMkLst>
            <pc:docMk/>
            <pc:sldMk cId="2346025138" sldId="2155"/>
            <ac:spMk id="76" creationId="{B37DF318-0EF0-459D-9F3D-9BB86BE04329}"/>
          </ac:spMkLst>
        </pc:spChg>
        <pc:spChg chg="add mod">
          <ac:chgData name="Aurelien Domont" userId="6da7715ce44349b3" providerId="LiveId" clId="{FC254C3F-0DA2-4768-8E5C-80D9632154D7}" dt="2021-05-20T06:48:56.016" v="4762"/>
          <ac:spMkLst>
            <pc:docMk/>
            <pc:sldMk cId="2346025138" sldId="2155"/>
            <ac:spMk id="77" creationId="{5C24003C-A900-41E6-B1F4-92F48D5F71E5}"/>
          </ac:spMkLst>
        </pc:spChg>
        <pc:spChg chg="add mod">
          <ac:chgData name="Aurelien Domont" userId="6da7715ce44349b3" providerId="LiveId" clId="{FC254C3F-0DA2-4768-8E5C-80D9632154D7}" dt="2021-05-20T06:49:03.361" v="4765"/>
          <ac:spMkLst>
            <pc:docMk/>
            <pc:sldMk cId="2346025138" sldId="2155"/>
            <ac:spMk id="78" creationId="{5B26BF6D-FFE6-4879-928B-27676689DA01}"/>
          </ac:spMkLst>
        </pc:spChg>
        <pc:spChg chg="add mod">
          <ac:chgData name="Aurelien Domont" userId="6da7715ce44349b3" providerId="LiveId" clId="{FC254C3F-0DA2-4768-8E5C-80D9632154D7}" dt="2021-05-20T06:45:26.720" v="4693" actId="207"/>
          <ac:spMkLst>
            <pc:docMk/>
            <pc:sldMk cId="2346025138" sldId="2155"/>
            <ac:spMk id="79" creationId="{E21B820B-4427-467C-BDC8-75217055A5A0}"/>
          </ac:spMkLst>
        </pc:spChg>
        <pc:cxnChg chg="add del mod">
          <ac:chgData name="Aurelien Domont" userId="6da7715ce44349b3" providerId="LiveId" clId="{FC254C3F-0DA2-4768-8E5C-80D9632154D7}" dt="2021-05-20T06:36:17.489" v="4421" actId="478"/>
          <ac:cxnSpMkLst>
            <pc:docMk/>
            <pc:sldMk cId="2346025138" sldId="2155"/>
            <ac:cxnSpMk id="25" creationId="{DE31634D-ABC4-4B6E-A7B0-1321D899DB15}"/>
          </ac:cxnSpMkLst>
        </pc:cxnChg>
        <pc:cxnChg chg="add del mod">
          <ac:chgData name="Aurelien Domont" userId="6da7715ce44349b3" providerId="LiveId" clId="{FC254C3F-0DA2-4768-8E5C-80D9632154D7}" dt="2021-05-20T06:36:17.489" v="4421" actId="478"/>
          <ac:cxnSpMkLst>
            <pc:docMk/>
            <pc:sldMk cId="2346025138" sldId="2155"/>
            <ac:cxnSpMk id="26" creationId="{374B57A2-120A-4D97-B209-4B852528A6A4}"/>
          </ac:cxnSpMkLst>
        </pc:cxnChg>
        <pc:cxnChg chg="add del mod">
          <ac:chgData name="Aurelien Domont" userId="6da7715ce44349b3" providerId="LiveId" clId="{FC254C3F-0DA2-4768-8E5C-80D9632154D7}" dt="2021-05-20T06:36:17.489" v="4421" actId="478"/>
          <ac:cxnSpMkLst>
            <pc:docMk/>
            <pc:sldMk cId="2346025138" sldId="2155"/>
            <ac:cxnSpMk id="27" creationId="{EAFE1E1E-A3B9-40BF-A8D9-3D567C6065B8}"/>
          </ac:cxnSpMkLst>
        </pc:cxnChg>
        <pc:cxnChg chg="add del mod">
          <ac:chgData name="Aurelien Domont" userId="6da7715ce44349b3" providerId="LiveId" clId="{FC254C3F-0DA2-4768-8E5C-80D9632154D7}" dt="2021-05-20T06:36:17.489" v="4421" actId="478"/>
          <ac:cxnSpMkLst>
            <pc:docMk/>
            <pc:sldMk cId="2346025138" sldId="2155"/>
            <ac:cxnSpMk id="28" creationId="{222EDE26-7FA3-41D9-8534-CF7F02B49BFA}"/>
          </ac:cxnSpMkLst>
        </pc:cxnChg>
        <pc:cxnChg chg="add del mod">
          <ac:chgData name="Aurelien Domont" userId="6da7715ce44349b3" providerId="LiveId" clId="{FC254C3F-0DA2-4768-8E5C-80D9632154D7}" dt="2021-05-20T06:36:14.959" v="4420" actId="478"/>
          <ac:cxnSpMkLst>
            <pc:docMk/>
            <pc:sldMk cId="2346025138" sldId="2155"/>
            <ac:cxnSpMk id="29" creationId="{01897759-9039-4A56-850C-99375D4A25B6}"/>
          </ac:cxnSpMkLst>
        </pc:cxnChg>
        <pc:cxnChg chg="add del mod">
          <ac:chgData name="Aurelien Domont" userId="6da7715ce44349b3" providerId="LiveId" clId="{FC254C3F-0DA2-4768-8E5C-80D9632154D7}" dt="2021-05-20T06:36:17.489" v="4421" actId="478"/>
          <ac:cxnSpMkLst>
            <pc:docMk/>
            <pc:sldMk cId="2346025138" sldId="2155"/>
            <ac:cxnSpMk id="31" creationId="{C4F5E428-FCCC-4CEF-8E7B-36E9BD777221}"/>
          </ac:cxnSpMkLst>
        </pc:cxnChg>
        <pc:cxnChg chg="add del mod">
          <ac:chgData name="Aurelien Domont" userId="6da7715ce44349b3" providerId="LiveId" clId="{FC254C3F-0DA2-4768-8E5C-80D9632154D7}" dt="2021-05-20T06:35:06.692" v="4413" actId="478"/>
          <ac:cxnSpMkLst>
            <pc:docMk/>
            <pc:sldMk cId="2346025138" sldId="2155"/>
            <ac:cxnSpMk id="44" creationId="{5EE32442-833A-4BB4-9644-8F7400D1B8FD}"/>
          </ac:cxnSpMkLst>
        </pc:cxnChg>
        <pc:cxnChg chg="add mod">
          <ac:chgData name="Aurelien Domont" userId="6da7715ce44349b3" providerId="LiveId" clId="{FC254C3F-0DA2-4768-8E5C-80D9632154D7}" dt="2021-05-20T06:46:39.436" v="4699" actId="14100"/>
          <ac:cxnSpMkLst>
            <pc:docMk/>
            <pc:sldMk cId="2346025138" sldId="2155"/>
            <ac:cxnSpMk id="57" creationId="{BA4F90BE-6824-4CFE-B275-CF178B87FCF5}"/>
          </ac:cxnSpMkLst>
        </pc:cxnChg>
        <pc:cxnChg chg="add mod">
          <ac:chgData name="Aurelien Domont" userId="6da7715ce44349b3" providerId="LiveId" clId="{FC254C3F-0DA2-4768-8E5C-80D9632154D7}" dt="2021-05-20T06:41:08.714" v="4555" actId="1037"/>
          <ac:cxnSpMkLst>
            <pc:docMk/>
            <pc:sldMk cId="2346025138" sldId="2155"/>
            <ac:cxnSpMk id="61" creationId="{CCBBD65B-F898-4CA7-913E-E53A25D29E0A}"/>
          </ac:cxnSpMkLst>
        </pc:cxnChg>
        <pc:cxnChg chg="add mod">
          <ac:chgData name="Aurelien Domont" userId="6da7715ce44349b3" providerId="LiveId" clId="{FC254C3F-0DA2-4768-8E5C-80D9632154D7}" dt="2021-05-20T06:46:26.540" v="4697" actId="14100"/>
          <ac:cxnSpMkLst>
            <pc:docMk/>
            <pc:sldMk cId="2346025138" sldId="2155"/>
            <ac:cxnSpMk id="80" creationId="{1D974ED0-C4BC-42F8-B795-D78037E6DE52}"/>
          </ac:cxnSpMkLst>
        </pc:cxnChg>
      </pc:sldChg>
      <pc:sldChg chg="addSp delSp modSp add mod">
        <pc:chgData name="Aurelien Domont" userId="6da7715ce44349b3" providerId="LiveId" clId="{FC254C3F-0DA2-4768-8E5C-80D9632154D7}" dt="2021-05-20T04:45:05.283" v="1651" actId="108"/>
        <pc:sldMkLst>
          <pc:docMk/>
          <pc:sldMk cId="1479295029" sldId="2156"/>
        </pc:sldMkLst>
        <pc:spChg chg="add mod">
          <ac:chgData name="Aurelien Domont" userId="6da7715ce44349b3" providerId="LiveId" clId="{FC254C3F-0DA2-4768-8E5C-80D9632154D7}" dt="2021-05-20T04:43:16.330" v="1554" actId="14100"/>
          <ac:spMkLst>
            <pc:docMk/>
            <pc:sldMk cId="1479295029" sldId="2156"/>
            <ac:spMk id="5" creationId="{451CCA09-1D02-4912-A627-48525D1FC292}"/>
          </ac:spMkLst>
        </pc:spChg>
        <pc:spChg chg="add mod">
          <ac:chgData name="Aurelien Domont" userId="6da7715ce44349b3" providerId="LiveId" clId="{FC254C3F-0DA2-4768-8E5C-80D9632154D7}" dt="2021-05-20T04:44:59.978" v="1647" actId="113"/>
          <ac:spMkLst>
            <pc:docMk/>
            <pc:sldMk cId="1479295029" sldId="2156"/>
            <ac:spMk id="6" creationId="{58640601-4D44-4B49-A731-7641730D8799}"/>
          </ac:spMkLst>
        </pc:spChg>
        <pc:spChg chg="add del mod">
          <ac:chgData name="Aurelien Domont" userId="6da7715ce44349b3" providerId="LiveId" clId="{FC254C3F-0DA2-4768-8E5C-80D9632154D7}" dt="2021-05-20T04:37:08.281" v="1319" actId="478"/>
          <ac:spMkLst>
            <pc:docMk/>
            <pc:sldMk cId="1479295029" sldId="2156"/>
            <ac:spMk id="7" creationId="{5D0D7C9C-F300-4C43-98B2-0B1E7E18E3BD}"/>
          </ac:spMkLst>
        </pc:spChg>
        <pc:spChg chg="add del mod">
          <ac:chgData name="Aurelien Domont" userId="6da7715ce44349b3" providerId="LiveId" clId="{FC254C3F-0DA2-4768-8E5C-80D9632154D7}" dt="2021-05-20T04:37:08.281" v="1319" actId="478"/>
          <ac:spMkLst>
            <pc:docMk/>
            <pc:sldMk cId="1479295029" sldId="2156"/>
            <ac:spMk id="8" creationId="{F5BF15F4-2BE8-4F96-AC34-BC34E32DB9DC}"/>
          </ac:spMkLst>
        </pc:spChg>
        <pc:spChg chg="add del mod">
          <ac:chgData name="Aurelien Domont" userId="6da7715ce44349b3" providerId="LiveId" clId="{FC254C3F-0DA2-4768-8E5C-80D9632154D7}" dt="2021-05-20T04:37:08.281" v="1319" actId="478"/>
          <ac:spMkLst>
            <pc:docMk/>
            <pc:sldMk cId="1479295029" sldId="2156"/>
            <ac:spMk id="9" creationId="{020A536E-A6F7-40F6-A5BF-2C18863A591E}"/>
          </ac:spMkLst>
        </pc:spChg>
        <pc:spChg chg="add del mod">
          <ac:chgData name="Aurelien Domont" userId="6da7715ce44349b3" providerId="LiveId" clId="{FC254C3F-0DA2-4768-8E5C-80D9632154D7}" dt="2021-05-20T04:37:08.281" v="1319" actId="478"/>
          <ac:spMkLst>
            <pc:docMk/>
            <pc:sldMk cId="1479295029" sldId="2156"/>
            <ac:spMk id="10" creationId="{91EF9A6E-E51A-4E63-8D3E-9F501A4E961A}"/>
          </ac:spMkLst>
        </pc:spChg>
        <pc:spChg chg="add del mod">
          <ac:chgData name="Aurelien Domont" userId="6da7715ce44349b3" providerId="LiveId" clId="{FC254C3F-0DA2-4768-8E5C-80D9632154D7}" dt="2021-05-20T04:37:08.281" v="1319" actId="478"/>
          <ac:spMkLst>
            <pc:docMk/>
            <pc:sldMk cId="1479295029" sldId="2156"/>
            <ac:spMk id="11" creationId="{212443DD-9AE7-47C9-A422-D41D38F065E7}"/>
          </ac:spMkLst>
        </pc:spChg>
        <pc:spChg chg="add del mod">
          <ac:chgData name="Aurelien Domont" userId="6da7715ce44349b3" providerId="LiveId" clId="{FC254C3F-0DA2-4768-8E5C-80D9632154D7}" dt="2021-05-20T04:37:08.281" v="1319" actId="478"/>
          <ac:spMkLst>
            <pc:docMk/>
            <pc:sldMk cId="1479295029" sldId="2156"/>
            <ac:spMk id="12" creationId="{7D4CB6B9-4111-4876-AFA0-69F7D72AA376}"/>
          </ac:spMkLst>
        </pc:spChg>
        <pc:spChg chg="add del mod">
          <ac:chgData name="Aurelien Domont" userId="6da7715ce44349b3" providerId="LiveId" clId="{FC254C3F-0DA2-4768-8E5C-80D9632154D7}" dt="2021-05-20T04:37:08.281" v="1319" actId="478"/>
          <ac:spMkLst>
            <pc:docMk/>
            <pc:sldMk cId="1479295029" sldId="2156"/>
            <ac:spMk id="14" creationId="{C2DB9604-F9CF-4C32-9B7B-3AD2E4FBA1DD}"/>
          </ac:spMkLst>
        </pc:spChg>
        <pc:spChg chg="add del mod">
          <ac:chgData name="Aurelien Domont" userId="6da7715ce44349b3" providerId="LiveId" clId="{FC254C3F-0DA2-4768-8E5C-80D9632154D7}" dt="2021-05-20T04:37:08.281" v="1319" actId="478"/>
          <ac:spMkLst>
            <pc:docMk/>
            <pc:sldMk cId="1479295029" sldId="2156"/>
            <ac:spMk id="15" creationId="{F2D7E7C9-C3AC-4F0B-94D2-1E911352C8B5}"/>
          </ac:spMkLst>
        </pc:spChg>
        <pc:spChg chg="mod">
          <ac:chgData name="Aurelien Domont" userId="6da7715ce44349b3" providerId="LiveId" clId="{FC254C3F-0DA2-4768-8E5C-80D9632154D7}" dt="2021-05-20T04:37:02.097" v="1318" actId="20577"/>
          <ac:spMkLst>
            <pc:docMk/>
            <pc:sldMk cId="1479295029" sldId="2156"/>
            <ac:spMk id="16" creationId="{6C2BB713-9637-4B9B-938F-E9768876782A}"/>
          </ac:spMkLst>
        </pc:spChg>
        <pc:spChg chg="add del mod">
          <ac:chgData name="Aurelien Domont" userId="6da7715ce44349b3" providerId="LiveId" clId="{FC254C3F-0DA2-4768-8E5C-80D9632154D7}" dt="2021-05-20T04:37:08.281" v="1319" actId="478"/>
          <ac:spMkLst>
            <pc:docMk/>
            <pc:sldMk cId="1479295029" sldId="2156"/>
            <ac:spMk id="17" creationId="{92269F62-97E6-4C21-A4EF-1CC66FD5D842}"/>
          </ac:spMkLst>
        </pc:spChg>
        <pc:spChg chg="add del mod">
          <ac:chgData name="Aurelien Domont" userId="6da7715ce44349b3" providerId="LiveId" clId="{FC254C3F-0DA2-4768-8E5C-80D9632154D7}" dt="2021-05-20T04:37:08.281" v="1319" actId="478"/>
          <ac:spMkLst>
            <pc:docMk/>
            <pc:sldMk cId="1479295029" sldId="2156"/>
            <ac:spMk id="18" creationId="{3002DE43-DA95-4FF8-A934-9C34446FA605}"/>
          </ac:spMkLst>
        </pc:spChg>
        <pc:spChg chg="add del mod">
          <ac:chgData name="Aurelien Domont" userId="6da7715ce44349b3" providerId="LiveId" clId="{FC254C3F-0DA2-4768-8E5C-80D9632154D7}" dt="2021-05-20T04:37:08.281" v="1319" actId="478"/>
          <ac:spMkLst>
            <pc:docMk/>
            <pc:sldMk cId="1479295029" sldId="2156"/>
            <ac:spMk id="19" creationId="{2DAE08C1-7A0C-4F79-B41D-1831B50983E9}"/>
          </ac:spMkLst>
        </pc:spChg>
        <pc:spChg chg="add del mod">
          <ac:chgData name="Aurelien Domont" userId="6da7715ce44349b3" providerId="LiveId" clId="{FC254C3F-0DA2-4768-8E5C-80D9632154D7}" dt="2021-05-20T04:37:08.281" v="1319" actId="478"/>
          <ac:spMkLst>
            <pc:docMk/>
            <pc:sldMk cId="1479295029" sldId="2156"/>
            <ac:spMk id="20" creationId="{CE27E8F9-41D3-4D49-B0A7-14EB5D5BE618}"/>
          </ac:spMkLst>
        </pc:spChg>
        <pc:spChg chg="add del mod">
          <ac:chgData name="Aurelien Domont" userId="6da7715ce44349b3" providerId="LiveId" clId="{FC254C3F-0DA2-4768-8E5C-80D9632154D7}" dt="2021-05-20T04:37:08.281" v="1319" actId="478"/>
          <ac:spMkLst>
            <pc:docMk/>
            <pc:sldMk cId="1479295029" sldId="2156"/>
            <ac:spMk id="21" creationId="{4CDA99AA-1FA0-4EF7-9067-4E977546BF52}"/>
          </ac:spMkLst>
        </pc:spChg>
        <pc:spChg chg="add del mod">
          <ac:chgData name="Aurelien Domont" userId="6da7715ce44349b3" providerId="LiveId" clId="{FC254C3F-0DA2-4768-8E5C-80D9632154D7}" dt="2021-05-20T04:37:08.281" v="1319" actId="478"/>
          <ac:spMkLst>
            <pc:docMk/>
            <pc:sldMk cId="1479295029" sldId="2156"/>
            <ac:spMk id="22" creationId="{11AB8475-FACE-41F0-A68B-ADCF04749997}"/>
          </ac:spMkLst>
        </pc:spChg>
        <pc:spChg chg="add mod">
          <ac:chgData name="Aurelien Domont" userId="6da7715ce44349b3" providerId="LiveId" clId="{FC254C3F-0DA2-4768-8E5C-80D9632154D7}" dt="2021-05-20T04:43:16.330" v="1554" actId="14100"/>
          <ac:spMkLst>
            <pc:docMk/>
            <pc:sldMk cId="1479295029" sldId="2156"/>
            <ac:spMk id="23" creationId="{B334694F-7BB3-4FCD-9E8F-FFA6E89394E3}"/>
          </ac:spMkLst>
        </pc:spChg>
        <pc:spChg chg="add mod">
          <ac:chgData name="Aurelien Domont" userId="6da7715ce44349b3" providerId="LiveId" clId="{FC254C3F-0DA2-4768-8E5C-80D9632154D7}" dt="2021-05-20T04:45:03.954" v="1648" actId="108"/>
          <ac:spMkLst>
            <pc:docMk/>
            <pc:sldMk cId="1479295029" sldId="2156"/>
            <ac:spMk id="24" creationId="{65ED58C9-C893-412C-A89A-0D2078927765}"/>
          </ac:spMkLst>
        </pc:spChg>
        <pc:spChg chg="add mod">
          <ac:chgData name="Aurelien Domont" userId="6da7715ce44349b3" providerId="LiveId" clId="{FC254C3F-0DA2-4768-8E5C-80D9632154D7}" dt="2021-05-20T04:43:16.330" v="1554" actId="14100"/>
          <ac:spMkLst>
            <pc:docMk/>
            <pc:sldMk cId="1479295029" sldId="2156"/>
            <ac:spMk id="25" creationId="{7D833DE7-9E1C-4475-A7CE-460FF1F4D7C1}"/>
          </ac:spMkLst>
        </pc:spChg>
        <pc:spChg chg="add mod">
          <ac:chgData name="Aurelien Domont" userId="6da7715ce44349b3" providerId="LiveId" clId="{FC254C3F-0DA2-4768-8E5C-80D9632154D7}" dt="2021-05-20T04:45:04.485" v="1649" actId="108"/>
          <ac:spMkLst>
            <pc:docMk/>
            <pc:sldMk cId="1479295029" sldId="2156"/>
            <ac:spMk id="26" creationId="{0F2E6CC3-2425-4F18-BF55-995AAC49BDEC}"/>
          </ac:spMkLst>
        </pc:spChg>
        <pc:spChg chg="add mod">
          <ac:chgData name="Aurelien Domont" userId="6da7715ce44349b3" providerId="LiveId" clId="{FC254C3F-0DA2-4768-8E5C-80D9632154D7}" dt="2021-05-20T04:43:16.330" v="1554" actId="14100"/>
          <ac:spMkLst>
            <pc:docMk/>
            <pc:sldMk cId="1479295029" sldId="2156"/>
            <ac:spMk id="27" creationId="{CF68F54C-6564-4B2B-A213-1F519EEB94AD}"/>
          </ac:spMkLst>
        </pc:spChg>
        <pc:spChg chg="add mod">
          <ac:chgData name="Aurelien Domont" userId="6da7715ce44349b3" providerId="LiveId" clId="{FC254C3F-0DA2-4768-8E5C-80D9632154D7}" dt="2021-05-20T04:45:04.882" v="1650" actId="108"/>
          <ac:spMkLst>
            <pc:docMk/>
            <pc:sldMk cId="1479295029" sldId="2156"/>
            <ac:spMk id="28" creationId="{EC8720D3-8207-4B1C-913F-0D3EC2ECFB2B}"/>
          </ac:spMkLst>
        </pc:spChg>
        <pc:spChg chg="add mod">
          <ac:chgData name="Aurelien Domont" userId="6da7715ce44349b3" providerId="LiveId" clId="{FC254C3F-0DA2-4768-8E5C-80D9632154D7}" dt="2021-05-20T04:43:16.330" v="1554" actId="14100"/>
          <ac:spMkLst>
            <pc:docMk/>
            <pc:sldMk cId="1479295029" sldId="2156"/>
            <ac:spMk id="29" creationId="{9F88C4F5-E765-47EF-B190-EA4613B36123}"/>
          </ac:spMkLst>
        </pc:spChg>
        <pc:spChg chg="add mod">
          <ac:chgData name="Aurelien Domont" userId="6da7715ce44349b3" providerId="LiveId" clId="{FC254C3F-0DA2-4768-8E5C-80D9632154D7}" dt="2021-05-20T04:45:05.283" v="1651" actId="108"/>
          <ac:spMkLst>
            <pc:docMk/>
            <pc:sldMk cId="1479295029" sldId="2156"/>
            <ac:spMk id="30" creationId="{1F2E2D8A-2BD9-4E56-AD54-2E76B8B40303}"/>
          </ac:spMkLst>
        </pc:spChg>
        <pc:spChg chg="add mod">
          <ac:chgData name="Aurelien Domont" userId="6da7715ce44349b3" providerId="LiveId" clId="{FC254C3F-0DA2-4768-8E5C-80D9632154D7}" dt="2021-05-20T04:44:06.299" v="1605" actId="20577"/>
          <ac:spMkLst>
            <pc:docMk/>
            <pc:sldMk cId="1479295029" sldId="2156"/>
            <ac:spMk id="31" creationId="{92591DBB-98EC-493C-A852-F0EFB804075A}"/>
          </ac:spMkLst>
        </pc:spChg>
        <pc:spChg chg="add mod">
          <ac:chgData name="Aurelien Domont" userId="6da7715ce44349b3" providerId="LiveId" clId="{FC254C3F-0DA2-4768-8E5C-80D9632154D7}" dt="2021-05-20T04:44:20.859" v="1614" actId="108"/>
          <ac:spMkLst>
            <pc:docMk/>
            <pc:sldMk cId="1479295029" sldId="2156"/>
            <ac:spMk id="32" creationId="{E2D2C2F5-DA73-4151-9A73-5F844F4A5E2A}"/>
          </ac:spMkLst>
        </pc:spChg>
        <pc:spChg chg="add mod">
          <ac:chgData name="Aurelien Domont" userId="6da7715ce44349b3" providerId="LiveId" clId="{FC254C3F-0DA2-4768-8E5C-80D9632154D7}" dt="2021-05-20T04:44:18.643" v="1610" actId="108"/>
          <ac:spMkLst>
            <pc:docMk/>
            <pc:sldMk cId="1479295029" sldId="2156"/>
            <ac:spMk id="33" creationId="{FF52AD10-B87D-42B7-BC46-3E3BA92DD759}"/>
          </ac:spMkLst>
        </pc:spChg>
        <pc:spChg chg="add mod">
          <ac:chgData name="Aurelien Domont" userId="6da7715ce44349b3" providerId="LiveId" clId="{FC254C3F-0DA2-4768-8E5C-80D9632154D7}" dt="2021-05-20T04:44:19.282" v="1611" actId="108"/>
          <ac:spMkLst>
            <pc:docMk/>
            <pc:sldMk cId="1479295029" sldId="2156"/>
            <ac:spMk id="34" creationId="{8298234B-3021-44DF-8D5D-F615B16AD5EC}"/>
          </ac:spMkLst>
        </pc:spChg>
        <pc:spChg chg="add mod">
          <ac:chgData name="Aurelien Domont" userId="6da7715ce44349b3" providerId="LiveId" clId="{FC254C3F-0DA2-4768-8E5C-80D9632154D7}" dt="2021-05-20T04:44:20.279" v="1613" actId="108"/>
          <ac:spMkLst>
            <pc:docMk/>
            <pc:sldMk cId="1479295029" sldId="2156"/>
            <ac:spMk id="35" creationId="{C4C1607E-5DDE-476E-957E-58ACEBC90CCC}"/>
          </ac:spMkLst>
        </pc:spChg>
      </pc:sldChg>
      <pc:sldChg chg="add del">
        <pc:chgData name="Aurelien Domont" userId="6da7715ce44349b3" providerId="LiveId" clId="{FC254C3F-0DA2-4768-8E5C-80D9632154D7}" dt="2021-05-20T05:09:51.939" v="2300" actId="47"/>
        <pc:sldMkLst>
          <pc:docMk/>
          <pc:sldMk cId="333077673" sldId="2157"/>
        </pc:sldMkLst>
      </pc:sldChg>
      <pc:sldChg chg="addSp modSp add del mod">
        <pc:chgData name="Aurelien Domont" userId="6da7715ce44349b3" providerId="LiveId" clId="{FC254C3F-0DA2-4768-8E5C-80D9632154D7}" dt="2021-05-20T05:06:33.803" v="2296" actId="47"/>
        <pc:sldMkLst>
          <pc:docMk/>
          <pc:sldMk cId="3403113405" sldId="2158"/>
        </pc:sldMkLst>
        <pc:spChg chg="mod">
          <ac:chgData name="Aurelien Domont" userId="6da7715ce44349b3" providerId="LiveId" clId="{FC254C3F-0DA2-4768-8E5C-80D9632154D7}" dt="2021-05-20T04:42:01.090" v="1551" actId="20577"/>
          <ac:spMkLst>
            <pc:docMk/>
            <pc:sldMk cId="3403113405" sldId="2158"/>
            <ac:spMk id="6" creationId="{58640601-4D44-4B49-A731-7641730D8799}"/>
          </ac:spMkLst>
        </pc:spChg>
        <pc:spChg chg="add mod">
          <ac:chgData name="Aurelien Domont" userId="6da7715ce44349b3" providerId="LiveId" clId="{FC254C3F-0DA2-4768-8E5C-80D9632154D7}" dt="2021-05-20T04:41:07.536" v="1528" actId="14100"/>
          <ac:spMkLst>
            <pc:docMk/>
            <pc:sldMk cId="3403113405" sldId="2158"/>
            <ac:spMk id="15" creationId="{E337183F-8D0C-40D5-8E79-3A2A02B1BD99}"/>
          </ac:spMkLst>
        </pc:spChg>
      </pc:sldChg>
      <pc:sldChg chg="add del">
        <pc:chgData name="Aurelien Domont" userId="6da7715ce44349b3" providerId="LiveId" clId="{FC254C3F-0DA2-4768-8E5C-80D9632154D7}" dt="2021-05-20T04:46:07.625" v="1654" actId="47"/>
        <pc:sldMkLst>
          <pc:docMk/>
          <pc:sldMk cId="4157370321" sldId="2159"/>
        </pc:sldMkLst>
      </pc:sldChg>
      <pc:sldChg chg="addSp modSp add mod">
        <pc:chgData name="Aurelien Domont" userId="6da7715ce44349b3" providerId="LiveId" clId="{FC254C3F-0DA2-4768-8E5C-80D9632154D7}" dt="2021-05-20T05:06:09.577" v="2294"/>
        <pc:sldMkLst>
          <pc:docMk/>
          <pc:sldMk cId="2678382071" sldId="2160"/>
        </pc:sldMkLst>
        <pc:spChg chg="mod">
          <ac:chgData name="Aurelien Domont" userId="6da7715ce44349b3" providerId="LiveId" clId="{FC254C3F-0DA2-4768-8E5C-80D9632154D7}" dt="2021-05-20T04:56:29.163" v="2052" actId="20577"/>
          <ac:spMkLst>
            <pc:docMk/>
            <pc:sldMk cId="2678382071" sldId="2160"/>
            <ac:spMk id="6" creationId="{58640601-4D44-4B49-A731-7641730D8799}"/>
          </ac:spMkLst>
        </pc:spChg>
        <pc:spChg chg="add mod">
          <ac:chgData name="Aurelien Domont" userId="6da7715ce44349b3" providerId="LiveId" clId="{FC254C3F-0DA2-4768-8E5C-80D9632154D7}" dt="2021-05-20T04:45:58.301" v="1653"/>
          <ac:spMkLst>
            <pc:docMk/>
            <pc:sldMk cId="2678382071" sldId="2160"/>
            <ac:spMk id="20" creationId="{4B145E06-1CE4-4D20-9711-8C167F887A82}"/>
          </ac:spMkLst>
        </pc:spChg>
        <pc:spChg chg="mod">
          <ac:chgData name="Aurelien Domont" userId="6da7715ce44349b3" providerId="LiveId" clId="{FC254C3F-0DA2-4768-8E5C-80D9632154D7}" dt="2021-05-20T05:05:29.372" v="2292"/>
          <ac:spMkLst>
            <pc:docMk/>
            <pc:sldMk cId="2678382071" sldId="2160"/>
            <ac:spMk id="24" creationId="{65ED58C9-C893-412C-A89A-0D2078927765}"/>
          </ac:spMkLst>
        </pc:spChg>
        <pc:spChg chg="mod">
          <ac:chgData name="Aurelien Domont" userId="6da7715ce44349b3" providerId="LiveId" clId="{FC254C3F-0DA2-4768-8E5C-80D9632154D7}" dt="2021-05-20T04:56:17.558" v="2051" actId="20577"/>
          <ac:spMkLst>
            <pc:docMk/>
            <pc:sldMk cId="2678382071" sldId="2160"/>
            <ac:spMk id="26" creationId="{0F2E6CC3-2425-4F18-BF55-995AAC49BDEC}"/>
          </ac:spMkLst>
        </pc:spChg>
        <pc:spChg chg="mod">
          <ac:chgData name="Aurelien Domont" userId="6da7715ce44349b3" providerId="LiveId" clId="{FC254C3F-0DA2-4768-8E5C-80D9632154D7}" dt="2021-05-20T05:00:19.918" v="2212" actId="6549"/>
          <ac:spMkLst>
            <pc:docMk/>
            <pc:sldMk cId="2678382071" sldId="2160"/>
            <ac:spMk id="28" creationId="{EC8720D3-8207-4B1C-913F-0D3EC2ECFB2B}"/>
          </ac:spMkLst>
        </pc:spChg>
        <pc:spChg chg="mod">
          <ac:chgData name="Aurelien Domont" userId="6da7715ce44349b3" providerId="LiveId" clId="{FC254C3F-0DA2-4768-8E5C-80D9632154D7}" dt="2021-05-20T05:06:09.577" v="2294"/>
          <ac:spMkLst>
            <pc:docMk/>
            <pc:sldMk cId="2678382071" sldId="2160"/>
            <ac:spMk id="30" creationId="{1F2E2D8A-2BD9-4E56-AD54-2E76B8B40303}"/>
          </ac:spMkLst>
        </pc:spChg>
        <pc:spChg chg="mod">
          <ac:chgData name="Aurelien Domont" userId="6da7715ce44349b3" providerId="LiveId" clId="{FC254C3F-0DA2-4768-8E5C-80D9632154D7}" dt="2021-05-20T04:53:11.036" v="1695" actId="313"/>
          <ac:spMkLst>
            <pc:docMk/>
            <pc:sldMk cId="2678382071" sldId="2160"/>
            <ac:spMk id="31" creationId="{92591DBB-98EC-493C-A852-F0EFB804075A}"/>
          </ac:spMkLst>
        </pc:spChg>
        <pc:spChg chg="mod">
          <ac:chgData name="Aurelien Domont" userId="6da7715ce44349b3" providerId="LiveId" clId="{FC254C3F-0DA2-4768-8E5C-80D9632154D7}" dt="2021-05-20T05:05:24.542" v="2291"/>
          <ac:spMkLst>
            <pc:docMk/>
            <pc:sldMk cId="2678382071" sldId="2160"/>
            <ac:spMk id="32" creationId="{E2D2C2F5-DA73-4151-9A73-5F844F4A5E2A}"/>
          </ac:spMkLst>
        </pc:spChg>
        <pc:spChg chg="mod">
          <ac:chgData name="Aurelien Domont" userId="6da7715ce44349b3" providerId="LiveId" clId="{FC254C3F-0DA2-4768-8E5C-80D9632154D7}" dt="2021-05-20T04:55:49.964" v="1925" actId="20577"/>
          <ac:spMkLst>
            <pc:docMk/>
            <pc:sldMk cId="2678382071" sldId="2160"/>
            <ac:spMk id="33" creationId="{FF52AD10-B87D-42B7-BC46-3E3BA92DD759}"/>
          </ac:spMkLst>
        </pc:spChg>
        <pc:spChg chg="mod">
          <ac:chgData name="Aurelien Domont" userId="6da7715ce44349b3" providerId="LiveId" clId="{FC254C3F-0DA2-4768-8E5C-80D9632154D7}" dt="2021-05-20T04:59:19.785" v="2174" actId="20577"/>
          <ac:spMkLst>
            <pc:docMk/>
            <pc:sldMk cId="2678382071" sldId="2160"/>
            <ac:spMk id="34" creationId="{8298234B-3021-44DF-8D5D-F615B16AD5EC}"/>
          </ac:spMkLst>
        </pc:spChg>
        <pc:spChg chg="mod">
          <ac:chgData name="Aurelien Domont" userId="6da7715ce44349b3" providerId="LiveId" clId="{FC254C3F-0DA2-4768-8E5C-80D9632154D7}" dt="2021-05-20T05:06:01.855" v="2293"/>
          <ac:spMkLst>
            <pc:docMk/>
            <pc:sldMk cId="2678382071" sldId="2160"/>
            <ac:spMk id="35" creationId="{C4C1607E-5DDE-476E-957E-58ACEBC90CCC}"/>
          </ac:spMkLst>
        </pc:spChg>
      </pc:sldChg>
      <pc:sldChg chg="modSp add del mod">
        <pc:chgData name="Aurelien Domont" userId="6da7715ce44349b3" providerId="LiveId" clId="{FC254C3F-0DA2-4768-8E5C-80D9632154D7}" dt="2021-05-20T05:06:22.356" v="2295" actId="47"/>
        <pc:sldMkLst>
          <pc:docMk/>
          <pc:sldMk cId="629681200" sldId="2161"/>
        </pc:sldMkLst>
        <pc:spChg chg="mod">
          <ac:chgData name="Aurelien Domont" userId="6da7715ce44349b3" providerId="LiveId" clId="{FC254C3F-0DA2-4768-8E5C-80D9632154D7}" dt="2021-05-20T05:05:20.609" v="2290" actId="21"/>
          <ac:spMkLst>
            <pc:docMk/>
            <pc:sldMk cId="629681200" sldId="2161"/>
            <ac:spMk id="35" creationId="{C4C1607E-5DDE-476E-957E-58ACEBC90CCC}"/>
          </ac:spMkLst>
        </pc:spChg>
      </pc:sldChg>
      <pc:sldChg chg="addSp modSp add del mod">
        <pc:chgData name="Aurelien Domont" userId="6da7715ce44349b3" providerId="LiveId" clId="{FC254C3F-0DA2-4768-8E5C-80D9632154D7}" dt="2021-05-20T05:16:58.623" v="2837" actId="47"/>
        <pc:sldMkLst>
          <pc:docMk/>
          <pc:sldMk cId="2043240555" sldId="2161"/>
        </pc:sldMkLst>
        <pc:spChg chg="add mod">
          <ac:chgData name="Aurelien Domont" userId="6da7715ce44349b3" providerId="LiveId" clId="{FC254C3F-0DA2-4768-8E5C-80D9632154D7}" dt="2021-05-20T05:12:49.042" v="2435" actId="6549"/>
          <ac:spMkLst>
            <pc:docMk/>
            <pc:sldMk cId="2043240555" sldId="2161"/>
            <ac:spMk id="5" creationId="{1A533370-79AC-4E60-ADDC-B73AF7D4CA9D}"/>
          </ac:spMkLst>
        </pc:spChg>
        <pc:spChg chg="mod">
          <ac:chgData name="Aurelien Domont" userId="6da7715ce44349b3" providerId="LiveId" clId="{FC254C3F-0DA2-4768-8E5C-80D9632154D7}" dt="2021-05-20T05:12:26.593" v="2397" actId="20577"/>
          <ac:spMkLst>
            <pc:docMk/>
            <pc:sldMk cId="2043240555" sldId="2161"/>
            <ac:spMk id="16" creationId="{6C2BB713-9637-4B9B-938F-E9768876782A}"/>
          </ac:spMkLst>
        </pc:spChg>
      </pc:sldChg>
      <pc:sldChg chg="addSp delSp modSp add mod">
        <pc:chgData name="Aurelien Domont" userId="6da7715ce44349b3" providerId="LiveId" clId="{FC254C3F-0DA2-4768-8E5C-80D9632154D7}" dt="2021-05-21T04:46:41.098" v="4882" actId="179"/>
        <pc:sldMkLst>
          <pc:docMk/>
          <pc:sldMk cId="1648929139" sldId="2162"/>
        </pc:sldMkLst>
        <pc:spChg chg="mod">
          <ac:chgData name="Aurelien Domont" userId="6da7715ce44349b3" providerId="LiveId" clId="{FC254C3F-0DA2-4768-8E5C-80D9632154D7}" dt="2021-05-21T04:46:41.098" v="4882" actId="179"/>
          <ac:spMkLst>
            <pc:docMk/>
            <pc:sldMk cId="1648929139" sldId="2162"/>
            <ac:spMk id="5" creationId="{1A533370-79AC-4E60-ADDC-B73AF7D4CA9D}"/>
          </ac:spMkLst>
        </pc:spChg>
        <pc:spChg chg="add del mod">
          <ac:chgData name="Aurelien Domont" userId="6da7715ce44349b3" providerId="LiveId" clId="{FC254C3F-0DA2-4768-8E5C-80D9632154D7}" dt="2021-05-20T05:17:07.359" v="2839" actId="478"/>
          <ac:spMkLst>
            <pc:docMk/>
            <pc:sldMk cId="1648929139" sldId="2162"/>
            <ac:spMk id="6" creationId="{074FB1D0-41D0-4506-85CF-81FCFCEC7FF5}"/>
          </ac:spMkLst>
        </pc:spChg>
        <pc:spChg chg="mod">
          <ac:chgData name="Aurelien Domont" userId="6da7715ce44349b3" providerId="LiveId" clId="{FC254C3F-0DA2-4768-8E5C-80D9632154D7}" dt="2021-05-20T05:43:37.705" v="3192" actId="20577"/>
          <ac:spMkLst>
            <pc:docMk/>
            <pc:sldMk cId="1648929139" sldId="2162"/>
            <ac:spMk id="16" creationId="{6C2BB713-9637-4B9B-938F-E9768876782A}"/>
          </ac:spMkLst>
        </pc:spChg>
      </pc:sldChg>
      <pc:sldChg chg="modSp add mod">
        <pc:chgData name="Aurelien Domont" userId="6da7715ce44349b3" providerId="LiveId" clId="{FC254C3F-0DA2-4768-8E5C-80D9632154D7}" dt="2021-05-21T04:46:50.282" v="4883" actId="179"/>
        <pc:sldMkLst>
          <pc:docMk/>
          <pc:sldMk cId="875289396" sldId="2163"/>
        </pc:sldMkLst>
        <pc:spChg chg="mod">
          <ac:chgData name="Aurelien Domont" userId="6da7715ce44349b3" providerId="LiveId" clId="{FC254C3F-0DA2-4768-8E5C-80D9632154D7}" dt="2021-05-21T04:46:50.282" v="4883" actId="179"/>
          <ac:spMkLst>
            <pc:docMk/>
            <pc:sldMk cId="875289396" sldId="2163"/>
            <ac:spMk id="5" creationId="{1A533370-79AC-4E60-ADDC-B73AF7D4CA9D}"/>
          </ac:spMkLst>
        </pc:spChg>
        <pc:spChg chg="mod">
          <ac:chgData name="Aurelien Domont" userId="6da7715ce44349b3" providerId="LiveId" clId="{FC254C3F-0DA2-4768-8E5C-80D9632154D7}" dt="2021-05-20T05:20:01.953" v="3148" actId="20577"/>
          <ac:spMkLst>
            <pc:docMk/>
            <pc:sldMk cId="875289396" sldId="2163"/>
            <ac:spMk id="6" creationId="{074FB1D0-41D0-4506-85CF-81FCFCEC7FF5}"/>
          </ac:spMkLst>
        </pc:spChg>
        <pc:spChg chg="mod">
          <ac:chgData name="Aurelien Domont" userId="6da7715ce44349b3" providerId="LiveId" clId="{FC254C3F-0DA2-4768-8E5C-80D9632154D7}" dt="2021-05-20T05:43:30.281" v="3191" actId="20577"/>
          <ac:spMkLst>
            <pc:docMk/>
            <pc:sldMk cId="875289396" sldId="2163"/>
            <ac:spMk id="16" creationId="{6C2BB713-9637-4B9B-938F-E9768876782A}"/>
          </ac:spMkLst>
        </pc:spChg>
      </pc:sldChg>
      <pc:sldChg chg="addSp delSp modSp add del mod">
        <pc:chgData name="Aurelien Domont" userId="6da7715ce44349b3" providerId="LiveId" clId="{FC254C3F-0DA2-4768-8E5C-80D9632154D7}" dt="2021-05-20T06:16:05.625" v="4086" actId="47"/>
        <pc:sldMkLst>
          <pc:docMk/>
          <pc:sldMk cId="3167426569" sldId="2164"/>
        </pc:sldMkLst>
        <pc:spChg chg="add del mod">
          <ac:chgData name="Aurelien Domont" userId="6da7715ce44349b3" providerId="LiveId" clId="{FC254C3F-0DA2-4768-8E5C-80D9632154D7}" dt="2021-05-20T05:49:02.676" v="3373" actId="478"/>
          <ac:spMkLst>
            <pc:docMk/>
            <pc:sldMk cId="3167426569" sldId="2164"/>
            <ac:spMk id="2" creationId="{8DE3493E-E6B2-49B2-88AD-00F0835E0E14}"/>
          </ac:spMkLst>
        </pc:spChg>
        <pc:spChg chg="add del mod">
          <ac:chgData name="Aurelien Domont" userId="6da7715ce44349b3" providerId="LiveId" clId="{FC254C3F-0DA2-4768-8E5C-80D9632154D7}" dt="2021-05-20T05:46:13.306" v="3322" actId="478"/>
          <ac:spMkLst>
            <pc:docMk/>
            <pc:sldMk cId="3167426569" sldId="2164"/>
            <ac:spMk id="4" creationId="{0140F145-982B-49BC-8FA5-BAEB407EC85F}"/>
          </ac:spMkLst>
        </pc:spChg>
        <pc:spChg chg="del mod">
          <ac:chgData name="Aurelien Domont" userId="6da7715ce44349b3" providerId="LiveId" clId="{FC254C3F-0DA2-4768-8E5C-80D9632154D7}" dt="2021-05-20T05:45:06.053" v="3297" actId="478"/>
          <ac:spMkLst>
            <pc:docMk/>
            <pc:sldMk cId="3167426569" sldId="2164"/>
            <ac:spMk id="5" creationId="{1A533370-79AC-4E60-ADDC-B73AF7D4CA9D}"/>
          </ac:spMkLst>
        </pc:spChg>
        <pc:spChg chg="del">
          <ac:chgData name="Aurelien Domont" userId="6da7715ce44349b3" providerId="LiveId" clId="{FC254C3F-0DA2-4768-8E5C-80D9632154D7}" dt="2021-05-20T05:43:59.476" v="3194" actId="478"/>
          <ac:spMkLst>
            <pc:docMk/>
            <pc:sldMk cId="3167426569" sldId="2164"/>
            <ac:spMk id="6" creationId="{074FB1D0-41D0-4506-85CF-81FCFCEC7FF5}"/>
          </ac:spMkLst>
        </pc:spChg>
        <pc:spChg chg="add del mod">
          <ac:chgData name="Aurelien Domont" userId="6da7715ce44349b3" providerId="LiveId" clId="{FC254C3F-0DA2-4768-8E5C-80D9632154D7}" dt="2021-05-20T05:49:25.654" v="3382" actId="478"/>
          <ac:spMkLst>
            <pc:docMk/>
            <pc:sldMk cId="3167426569" sldId="2164"/>
            <ac:spMk id="7" creationId="{01991021-6304-4E8C-AE3A-38283A62EB20}"/>
          </ac:spMkLst>
        </pc:spChg>
        <pc:spChg chg="add del mod">
          <ac:chgData name="Aurelien Domont" userId="6da7715ce44349b3" providerId="LiveId" clId="{FC254C3F-0DA2-4768-8E5C-80D9632154D7}" dt="2021-05-20T05:45:37.423" v="3315" actId="478"/>
          <ac:spMkLst>
            <pc:docMk/>
            <pc:sldMk cId="3167426569" sldId="2164"/>
            <ac:spMk id="8" creationId="{F3B8CF15-5511-4293-9393-8EF72A24303D}"/>
          </ac:spMkLst>
        </pc:spChg>
        <pc:spChg chg="add del mod">
          <ac:chgData name="Aurelien Domont" userId="6da7715ce44349b3" providerId="LiveId" clId="{FC254C3F-0DA2-4768-8E5C-80D9632154D7}" dt="2021-05-20T06:09:40.014" v="3943" actId="478"/>
          <ac:spMkLst>
            <pc:docMk/>
            <pc:sldMk cId="3167426569" sldId="2164"/>
            <ac:spMk id="9" creationId="{F96D0EC2-6E16-4C1B-8CEA-EBB31E7AAE8C}"/>
          </ac:spMkLst>
        </pc:spChg>
        <pc:spChg chg="add del mod">
          <ac:chgData name="Aurelien Domont" userId="6da7715ce44349b3" providerId="LiveId" clId="{FC254C3F-0DA2-4768-8E5C-80D9632154D7}" dt="2021-05-20T06:03:11.846" v="3723" actId="478"/>
          <ac:spMkLst>
            <pc:docMk/>
            <pc:sldMk cId="3167426569" sldId="2164"/>
            <ac:spMk id="10" creationId="{E2469E96-33E0-4355-A440-C03AA74CF21D}"/>
          </ac:spMkLst>
        </pc:spChg>
        <pc:spChg chg="add del mod">
          <ac:chgData name="Aurelien Domont" userId="6da7715ce44349b3" providerId="LiveId" clId="{FC254C3F-0DA2-4768-8E5C-80D9632154D7}" dt="2021-05-20T05:50:52.223" v="3403" actId="478"/>
          <ac:spMkLst>
            <pc:docMk/>
            <pc:sldMk cId="3167426569" sldId="2164"/>
            <ac:spMk id="11" creationId="{C7381672-C80A-4912-9FBC-8D9D66CB4538}"/>
          </ac:spMkLst>
        </pc:spChg>
        <pc:spChg chg="add del mod">
          <ac:chgData name="Aurelien Domont" userId="6da7715ce44349b3" providerId="LiveId" clId="{FC254C3F-0DA2-4768-8E5C-80D9632154D7}" dt="2021-05-20T05:49:33.934" v="3385" actId="478"/>
          <ac:spMkLst>
            <pc:docMk/>
            <pc:sldMk cId="3167426569" sldId="2164"/>
            <ac:spMk id="12" creationId="{7BC6E936-847D-4DB7-8C2D-C1C624795FFD}"/>
          </ac:spMkLst>
        </pc:spChg>
        <pc:spChg chg="add mod">
          <ac:chgData name="Aurelien Domont" userId="6da7715ce44349b3" providerId="LiveId" clId="{FC254C3F-0DA2-4768-8E5C-80D9632154D7}" dt="2021-05-20T06:06:58.233" v="3818" actId="207"/>
          <ac:spMkLst>
            <pc:docMk/>
            <pc:sldMk cId="3167426569" sldId="2164"/>
            <ac:spMk id="14" creationId="{4F8E8BE3-E03F-4660-8B85-A88E09962FBC}"/>
          </ac:spMkLst>
        </pc:spChg>
        <pc:spChg chg="add mod">
          <ac:chgData name="Aurelien Domont" userId="6da7715ce44349b3" providerId="LiveId" clId="{FC254C3F-0DA2-4768-8E5C-80D9632154D7}" dt="2021-05-20T06:06:58.233" v="3818" actId="207"/>
          <ac:spMkLst>
            <pc:docMk/>
            <pc:sldMk cId="3167426569" sldId="2164"/>
            <ac:spMk id="15" creationId="{5290C28F-0900-48CA-A5F6-5DD7D1EA251B}"/>
          </ac:spMkLst>
        </pc:spChg>
        <pc:spChg chg="mod">
          <ac:chgData name="Aurelien Domont" userId="6da7715ce44349b3" providerId="LiveId" clId="{FC254C3F-0DA2-4768-8E5C-80D9632154D7}" dt="2021-05-20T06:06:10.084" v="3817" actId="20577"/>
          <ac:spMkLst>
            <pc:docMk/>
            <pc:sldMk cId="3167426569" sldId="2164"/>
            <ac:spMk id="16" creationId="{6C2BB713-9637-4B9B-938F-E9768876782A}"/>
          </ac:spMkLst>
        </pc:spChg>
        <pc:spChg chg="add mod">
          <ac:chgData name="Aurelien Domont" userId="6da7715ce44349b3" providerId="LiveId" clId="{FC254C3F-0DA2-4768-8E5C-80D9632154D7}" dt="2021-05-20T06:06:58.233" v="3818" actId="207"/>
          <ac:spMkLst>
            <pc:docMk/>
            <pc:sldMk cId="3167426569" sldId="2164"/>
            <ac:spMk id="17" creationId="{FB20B082-C2A9-42A5-93F6-13472F952D4E}"/>
          </ac:spMkLst>
        </pc:spChg>
        <pc:spChg chg="add mod">
          <ac:chgData name="Aurelien Domont" userId="6da7715ce44349b3" providerId="LiveId" clId="{FC254C3F-0DA2-4768-8E5C-80D9632154D7}" dt="2021-05-20T06:06:58.233" v="3818" actId="207"/>
          <ac:spMkLst>
            <pc:docMk/>
            <pc:sldMk cId="3167426569" sldId="2164"/>
            <ac:spMk id="18" creationId="{2761F4DA-2E32-4BAE-AAE4-4CB2C3DAB4BF}"/>
          </ac:spMkLst>
        </pc:spChg>
        <pc:spChg chg="add mod">
          <ac:chgData name="Aurelien Domont" userId="6da7715ce44349b3" providerId="LiveId" clId="{FC254C3F-0DA2-4768-8E5C-80D9632154D7}" dt="2021-05-20T06:06:58.233" v="3818" actId="207"/>
          <ac:spMkLst>
            <pc:docMk/>
            <pc:sldMk cId="3167426569" sldId="2164"/>
            <ac:spMk id="19" creationId="{E80A8B79-CE40-481D-B7B1-540C9402CE33}"/>
          </ac:spMkLst>
        </pc:spChg>
        <pc:spChg chg="add mod">
          <ac:chgData name="Aurelien Domont" userId="6da7715ce44349b3" providerId="LiveId" clId="{FC254C3F-0DA2-4768-8E5C-80D9632154D7}" dt="2021-05-20T06:08:01.703" v="3937" actId="1038"/>
          <ac:spMkLst>
            <pc:docMk/>
            <pc:sldMk cId="3167426569" sldId="2164"/>
            <ac:spMk id="20" creationId="{0BD4ECAF-B0FD-490F-B1D0-9E3F36D5084C}"/>
          </ac:spMkLst>
        </pc:spChg>
        <pc:spChg chg="add mod">
          <ac:chgData name="Aurelien Domont" userId="6da7715ce44349b3" providerId="LiveId" clId="{FC254C3F-0DA2-4768-8E5C-80D9632154D7}" dt="2021-05-20T06:07:58.365" v="3923" actId="1038"/>
          <ac:spMkLst>
            <pc:docMk/>
            <pc:sldMk cId="3167426569" sldId="2164"/>
            <ac:spMk id="21" creationId="{798B40C6-808E-4923-922F-F5CA4F10A55F}"/>
          </ac:spMkLst>
        </pc:spChg>
        <pc:picChg chg="add mod">
          <ac:chgData name="Aurelien Domont" userId="6da7715ce44349b3" providerId="LiveId" clId="{FC254C3F-0DA2-4768-8E5C-80D9632154D7}" dt="2021-05-20T06:09:21.505" v="3938" actId="931"/>
          <ac:picMkLst>
            <pc:docMk/>
            <pc:sldMk cId="3167426569" sldId="2164"/>
            <ac:picMk id="23" creationId="{67975E7E-1A86-4ACC-83E3-5B3EB0E3B728}"/>
          </ac:picMkLst>
        </pc:picChg>
        <pc:picChg chg="add mod">
          <ac:chgData name="Aurelien Domont" userId="6da7715ce44349b3" providerId="LiveId" clId="{FC254C3F-0DA2-4768-8E5C-80D9632154D7}" dt="2021-05-20T06:10:53.723" v="3988" actId="1076"/>
          <ac:picMkLst>
            <pc:docMk/>
            <pc:sldMk cId="3167426569" sldId="2164"/>
            <ac:picMk id="25" creationId="{07C87F91-035F-4CF8-AC92-2CB98D9D9694}"/>
          </ac:picMkLst>
        </pc:picChg>
        <pc:picChg chg="add mod">
          <ac:chgData name="Aurelien Domont" userId="6da7715ce44349b3" providerId="LiveId" clId="{FC254C3F-0DA2-4768-8E5C-80D9632154D7}" dt="2021-05-20T06:10:51.800" v="3987" actId="1076"/>
          <ac:picMkLst>
            <pc:docMk/>
            <pc:sldMk cId="3167426569" sldId="2164"/>
            <ac:picMk id="27" creationId="{FDC96A0D-94EC-4F9E-9F7F-4E0E00DFC884}"/>
          </ac:picMkLst>
        </pc:picChg>
        <pc:picChg chg="add mod">
          <ac:chgData name="Aurelien Domont" userId="6da7715ce44349b3" providerId="LiveId" clId="{FC254C3F-0DA2-4768-8E5C-80D9632154D7}" dt="2021-05-20T06:09:36.194" v="3942" actId="1076"/>
          <ac:picMkLst>
            <pc:docMk/>
            <pc:sldMk cId="3167426569" sldId="2164"/>
            <ac:picMk id="29" creationId="{F706B5C1-DB46-4E21-A27B-ADC7331F89BB}"/>
          </ac:picMkLst>
        </pc:picChg>
      </pc:sldChg>
      <pc:sldChg chg="add del">
        <pc:chgData name="Aurelien Domont" userId="6da7715ce44349b3" providerId="LiveId" clId="{FC254C3F-0DA2-4768-8E5C-80D9632154D7}" dt="2021-05-20T05:54:54.578" v="3476" actId="47"/>
        <pc:sldMkLst>
          <pc:docMk/>
          <pc:sldMk cId="2255289635" sldId="2165"/>
        </pc:sldMkLst>
      </pc:sldChg>
      <pc:sldChg chg="addSp modSp add del mod">
        <pc:chgData name="Aurelien Domont" userId="6da7715ce44349b3" providerId="LiveId" clId="{FC254C3F-0DA2-4768-8E5C-80D9632154D7}" dt="2021-05-20T06:16:28.743" v="4092" actId="47"/>
        <pc:sldMkLst>
          <pc:docMk/>
          <pc:sldMk cId="3576842091" sldId="2165"/>
        </pc:sldMkLst>
        <pc:spChg chg="add mod">
          <ac:chgData name="Aurelien Domont" userId="6da7715ce44349b3" providerId="LiveId" clId="{FC254C3F-0DA2-4768-8E5C-80D9632154D7}" dt="2021-05-20T05:57:37.373" v="3702" actId="14100"/>
          <ac:spMkLst>
            <pc:docMk/>
            <pc:sldMk cId="3576842091" sldId="2165"/>
            <ac:spMk id="12" creationId="{9CF79031-F60D-4EF3-AD2F-84603E039D5B}"/>
          </ac:spMkLst>
        </pc:spChg>
      </pc:sldChg>
      <pc:sldChg chg="add del">
        <pc:chgData name="Aurelien Domont" userId="6da7715ce44349b3" providerId="LiveId" clId="{FC254C3F-0DA2-4768-8E5C-80D9632154D7}" dt="2021-05-20T06:16:09.841" v="4088" actId="47"/>
        <pc:sldMkLst>
          <pc:docMk/>
          <pc:sldMk cId="3679796980" sldId="2166"/>
        </pc:sldMkLst>
      </pc:sldChg>
      <pc:sldChg chg="addSp delSp modSp add del mod">
        <pc:chgData name="Aurelien Domont" userId="6da7715ce44349b3" providerId="LiveId" clId="{FC254C3F-0DA2-4768-8E5C-80D9632154D7}" dt="2021-05-20T06:16:07.722" v="4087" actId="47"/>
        <pc:sldMkLst>
          <pc:docMk/>
          <pc:sldMk cId="120310067" sldId="2167"/>
        </pc:sldMkLst>
        <pc:spChg chg="add mod">
          <ac:chgData name="Aurelien Domont" userId="6da7715ce44349b3" providerId="LiveId" clId="{FC254C3F-0DA2-4768-8E5C-80D9632154D7}" dt="2021-05-20T06:10:31.869" v="3983" actId="1038"/>
          <ac:spMkLst>
            <pc:docMk/>
            <pc:sldMk cId="120310067" sldId="2167"/>
            <ac:spMk id="2" creationId="{6D628248-AD38-4C2A-83CF-E43F6C70F321}"/>
          </ac:spMkLst>
        </pc:spChg>
        <pc:spChg chg="del">
          <ac:chgData name="Aurelien Domont" userId="6da7715ce44349b3" providerId="LiveId" clId="{FC254C3F-0DA2-4768-8E5C-80D9632154D7}" dt="2021-05-20T06:10:04.478" v="3950" actId="478"/>
          <ac:spMkLst>
            <pc:docMk/>
            <pc:sldMk cId="120310067" sldId="2167"/>
            <ac:spMk id="9" creationId="{F96D0EC2-6E16-4C1B-8CEA-EBB31E7AAE8C}"/>
          </ac:spMkLst>
        </pc:spChg>
        <pc:spChg chg="del">
          <ac:chgData name="Aurelien Domont" userId="6da7715ce44349b3" providerId="LiveId" clId="{FC254C3F-0DA2-4768-8E5C-80D9632154D7}" dt="2021-05-20T06:10:36.900" v="3984" actId="478"/>
          <ac:spMkLst>
            <pc:docMk/>
            <pc:sldMk cId="120310067" sldId="2167"/>
            <ac:spMk id="20" creationId="{0BD4ECAF-B0FD-490F-B1D0-9E3F36D5084C}"/>
          </ac:spMkLst>
        </pc:spChg>
        <pc:spChg chg="add mod">
          <ac:chgData name="Aurelien Domont" userId="6da7715ce44349b3" providerId="LiveId" clId="{FC254C3F-0DA2-4768-8E5C-80D9632154D7}" dt="2021-05-20T06:10:43.754" v="3986" actId="571"/>
          <ac:spMkLst>
            <pc:docMk/>
            <pc:sldMk cId="120310067" sldId="2167"/>
            <ac:spMk id="24" creationId="{368DB5F9-38FE-4733-9855-61567785EF35}"/>
          </ac:spMkLst>
        </pc:spChg>
        <pc:picChg chg="add del mod">
          <ac:chgData name="Aurelien Domont" userId="6da7715ce44349b3" providerId="LiveId" clId="{FC254C3F-0DA2-4768-8E5C-80D9632154D7}" dt="2021-05-20T06:11:02.056" v="3991" actId="478"/>
          <ac:picMkLst>
            <pc:docMk/>
            <pc:sldMk cId="120310067" sldId="2167"/>
            <ac:picMk id="22" creationId="{CE62490C-37EF-4E47-9F65-7F2345D98D7B}"/>
          </ac:picMkLst>
        </pc:picChg>
        <pc:picChg chg="mod">
          <ac:chgData name="Aurelien Domont" userId="6da7715ce44349b3" providerId="LiveId" clId="{FC254C3F-0DA2-4768-8E5C-80D9632154D7}" dt="2021-05-20T06:10:27.204" v="3981" actId="207"/>
          <ac:picMkLst>
            <pc:docMk/>
            <pc:sldMk cId="120310067" sldId="2167"/>
            <ac:picMk id="23" creationId="{67975E7E-1A86-4ACC-83E3-5B3EB0E3B728}"/>
          </ac:picMkLst>
        </pc:picChg>
        <pc:picChg chg="del mod">
          <ac:chgData name="Aurelien Domont" userId="6da7715ce44349b3" providerId="LiveId" clId="{FC254C3F-0DA2-4768-8E5C-80D9632154D7}" dt="2021-05-20T06:10:38.913" v="3985" actId="478"/>
          <ac:picMkLst>
            <pc:docMk/>
            <pc:sldMk cId="120310067" sldId="2167"/>
            <ac:picMk id="25" creationId="{07C87F91-035F-4CF8-AC92-2CB98D9D9694}"/>
          </ac:picMkLst>
        </pc:picChg>
        <pc:picChg chg="add del mod">
          <ac:chgData name="Aurelien Domont" userId="6da7715ce44349b3" providerId="LiveId" clId="{FC254C3F-0DA2-4768-8E5C-80D9632154D7}" dt="2021-05-20T06:11:47.652" v="4002" actId="478"/>
          <ac:picMkLst>
            <pc:docMk/>
            <pc:sldMk cId="120310067" sldId="2167"/>
            <ac:picMk id="26" creationId="{80379642-113B-4459-83FC-4F4C13E1CF1D}"/>
          </ac:picMkLst>
        </pc:picChg>
        <pc:picChg chg="del mod">
          <ac:chgData name="Aurelien Domont" userId="6da7715ce44349b3" providerId="LiveId" clId="{FC254C3F-0DA2-4768-8E5C-80D9632154D7}" dt="2021-05-20T06:10:38.913" v="3985" actId="478"/>
          <ac:picMkLst>
            <pc:docMk/>
            <pc:sldMk cId="120310067" sldId="2167"/>
            <ac:picMk id="27" creationId="{FDC96A0D-94EC-4F9E-9F7F-4E0E00DFC884}"/>
          </ac:picMkLst>
        </pc:picChg>
        <pc:picChg chg="del mod">
          <ac:chgData name="Aurelien Domont" userId="6da7715ce44349b3" providerId="LiveId" clId="{FC254C3F-0DA2-4768-8E5C-80D9632154D7}" dt="2021-05-20T06:10:38.913" v="3985" actId="478"/>
          <ac:picMkLst>
            <pc:docMk/>
            <pc:sldMk cId="120310067" sldId="2167"/>
            <ac:picMk id="29" creationId="{F706B5C1-DB46-4E21-A27B-ADC7331F89BB}"/>
          </ac:picMkLst>
        </pc:picChg>
      </pc:sldChg>
      <pc:sldChg chg="addSp delSp modSp add mod">
        <pc:chgData name="Aurelien Domont" userId="6da7715ce44349b3" providerId="LiveId" clId="{FC254C3F-0DA2-4768-8E5C-80D9632154D7}" dt="2021-05-21T05:29:06.108" v="6605"/>
        <pc:sldMkLst>
          <pc:docMk/>
          <pc:sldMk cId="2342396241" sldId="2168"/>
        </pc:sldMkLst>
        <pc:spChg chg="del mod">
          <ac:chgData name="Aurelien Domont" userId="6da7715ce44349b3" providerId="LiveId" clId="{FC254C3F-0DA2-4768-8E5C-80D9632154D7}" dt="2021-05-20T06:19:55.648" v="4099" actId="478"/>
          <ac:spMkLst>
            <pc:docMk/>
            <pc:sldMk cId="2342396241" sldId="2168"/>
            <ac:spMk id="2" creationId="{6D628248-AD38-4C2A-83CF-E43F6C70F321}"/>
          </ac:spMkLst>
        </pc:spChg>
        <pc:spChg chg="mod">
          <ac:chgData name="Aurelien Domont" userId="6da7715ce44349b3" providerId="LiveId" clId="{FC254C3F-0DA2-4768-8E5C-80D9632154D7}" dt="2021-05-21T05:29:06.108" v="6605"/>
          <ac:spMkLst>
            <pc:docMk/>
            <pc:sldMk cId="2342396241" sldId="2168"/>
            <ac:spMk id="19" creationId="{E80A8B79-CE40-481D-B7B1-540C9402CE33}"/>
          </ac:spMkLst>
        </pc:spChg>
        <pc:spChg chg="add mod">
          <ac:chgData name="Aurelien Domont" userId="6da7715ce44349b3" providerId="LiveId" clId="{FC254C3F-0DA2-4768-8E5C-80D9632154D7}" dt="2021-05-20T06:23:59.970" v="4164" actId="20577"/>
          <ac:spMkLst>
            <pc:docMk/>
            <pc:sldMk cId="2342396241" sldId="2168"/>
            <ac:spMk id="20" creationId="{99B22DB5-DE28-4DF1-80CF-44E0D7EF7DC1}"/>
          </ac:spMkLst>
        </pc:spChg>
        <pc:spChg chg="mod">
          <ac:chgData name="Aurelien Domont" userId="6da7715ce44349b3" providerId="LiveId" clId="{FC254C3F-0DA2-4768-8E5C-80D9632154D7}" dt="2021-05-20T06:15:51.348" v="4085" actId="1038"/>
          <ac:spMkLst>
            <pc:docMk/>
            <pc:sldMk cId="2342396241" sldId="2168"/>
            <ac:spMk id="21" creationId="{798B40C6-808E-4923-922F-F5CA4F10A55F}"/>
          </ac:spMkLst>
        </pc:spChg>
        <pc:spChg chg="del">
          <ac:chgData name="Aurelien Domont" userId="6da7715ce44349b3" providerId="LiveId" clId="{FC254C3F-0DA2-4768-8E5C-80D9632154D7}" dt="2021-05-20T06:12:00.327" v="4004" actId="478"/>
          <ac:spMkLst>
            <pc:docMk/>
            <pc:sldMk cId="2342396241" sldId="2168"/>
            <ac:spMk id="24" creationId="{368DB5F9-38FE-4733-9855-61567785EF35}"/>
          </ac:spMkLst>
        </pc:spChg>
        <pc:spChg chg="add mod">
          <ac:chgData name="Aurelien Domont" userId="6da7715ce44349b3" providerId="LiveId" clId="{FC254C3F-0DA2-4768-8E5C-80D9632154D7}" dt="2021-05-20T06:13:38.809" v="4041" actId="1076"/>
          <ac:spMkLst>
            <pc:docMk/>
            <pc:sldMk cId="2342396241" sldId="2168"/>
            <ac:spMk id="25" creationId="{E241990F-DA40-4A83-9006-0B21ACC5A549}"/>
          </ac:spMkLst>
        </pc:spChg>
        <pc:spChg chg="add mod">
          <ac:chgData name="Aurelien Domont" userId="6da7715ce44349b3" providerId="LiveId" clId="{FC254C3F-0DA2-4768-8E5C-80D9632154D7}" dt="2021-05-20T06:13:43.106" v="4043" actId="20577"/>
          <ac:spMkLst>
            <pc:docMk/>
            <pc:sldMk cId="2342396241" sldId="2168"/>
            <ac:spMk id="26" creationId="{587BA8FD-985D-41B8-8517-56D5670B106B}"/>
          </ac:spMkLst>
        </pc:spChg>
        <pc:spChg chg="add mod">
          <ac:chgData name="Aurelien Domont" userId="6da7715ce44349b3" providerId="LiveId" clId="{FC254C3F-0DA2-4768-8E5C-80D9632154D7}" dt="2021-05-20T06:13:51.002" v="4047" actId="20577"/>
          <ac:spMkLst>
            <pc:docMk/>
            <pc:sldMk cId="2342396241" sldId="2168"/>
            <ac:spMk id="27" creationId="{F15BA993-0961-4C42-B006-EDDD6AB1B14F}"/>
          </ac:spMkLst>
        </pc:spChg>
        <pc:spChg chg="add mod">
          <ac:chgData name="Aurelien Domont" userId="6da7715ce44349b3" providerId="LiveId" clId="{FC254C3F-0DA2-4768-8E5C-80D9632154D7}" dt="2021-05-20T06:13:53.751" v="4048" actId="20577"/>
          <ac:spMkLst>
            <pc:docMk/>
            <pc:sldMk cId="2342396241" sldId="2168"/>
            <ac:spMk id="28" creationId="{32B8777D-02B3-436F-BEE5-C13F2DDA3B54}"/>
          </ac:spMkLst>
        </pc:spChg>
        <pc:spChg chg="add mod">
          <ac:chgData name="Aurelien Domont" userId="6da7715ce44349b3" providerId="LiveId" clId="{FC254C3F-0DA2-4768-8E5C-80D9632154D7}" dt="2021-05-20T06:19:55.907" v="4100"/>
          <ac:spMkLst>
            <pc:docMk/>
            <pc:sldMk cId="2342396241" sldId="2168"/>
            <ac:spMk id="29" creationId="{2690FBE3-8DD2-4906-BBE8-EABB0093850D}"/>
          </ac:spMkLst>
        </pc:spChg>
        <pc:picChg chg="mod">
          <ac:chgData name="Aurelien Domont" userId="6da7715ce44349b3" providerId="LiveId" clId="{FC254C3F-0DA2-4768-8E5C-80D9632154D7}" dt="2021-05-20T06:19:45.995" v="4098" actId="108"/>
          <ac:picMkLst>
            <pc:docMk/>
            <pc:sldMk cId="2342396241" sldId="2168"/>
            <ac:picMk id="23" creationId="{67975E7E-1A86-4ACC-83E3-5B3EB0E3B728}"/>
          </ac:picMkLst>
        </pc:picChg>
        <pc:cxnChg chg="add mod">
          <ac:chgData name="Aurelien Domont" userId="6da7715ce44349b3" providerId="LiveId" clId="{FC254C3F-0DA2-4768-8E5C-80D9632154D7}" dt="2021-05-20T06:13:19.500" v="4037" actId="1037"/>
          <ac:cxnSpMkLst>
            <pc:docMk/>
            <pc:sldMk cId="2342396241" sldId="2168"/>
            <ac:cxnSpMk id="5" creationId="{00AFC06A-5C5E-4817-8604-00B34BE606D8}"/>
          </ac:cxnSpMkLst>
        </pc:cxnChg>
        <pc:cxnChg chg="add mod">
          <ac:chgData name="Aurelien Domont" userId="6da7715ce44349b3" providerId="LiveId" clId="{FC254C3F-0DA2-4768-8E5C-80D9632154D7}" dt="2021-05-20T06:13:19.500" v="4037" actId="1037"/>
          <ac:cxnSpMkLst>
            <pc:docMk/>
            <pc:sldMk cId="2342396241" sldId="2168"/>
            <ac:cxnSpMk id="22" creationId="{60A3B7B3-C031-4667-81D6-FBC426F9A3D7}"/>
          </ac:cxnSpMkLst>
        </pc:cxnChg>
      </pc:sldChg>
      <pc:sldChg chg="addSp delSp modSp add mod">
        <pc:chgData name="Aurelien Domont" userId="6da7715ce44349b3" providerId="LiveId" clId="{FC254C3F-0DA2-4768-8E5C-80D9632154D7}" dt="2021-05-21T05:28:48.338" v="6604" actId="20577"/>
        <pc:sldMkLst>
          <pc:docMk/>
          <pc:sldMk cId="2159222150" sldId="2169"/>
        </pc:sldMkLst>
        <pc:spChg chg="mod">
          <ac:chgData name="Aurelien Domont" userId="6da7715ce44349b3" providerId="LiveId" clId="{FC254C3F-0DA2-4768-8E5C-80D9632154D7}" dt="2021-05-20T06:19:37.019" v="4097" actId="1038"/>
          <ac:spMkLst>
            <pc:docMk/>
            <pc:sldMk cId="2159222150" sldId="2169"/>
            <ac:spMk id="2" creationId="{6D628248-AD38-4C2A-83CF-E43F6C70F321}"/>
          </ac:spMkLst>
        </pc:spChg>
        <pc:spChg chg="mod">
          <ac:chgData name="Aurelien Domont" userId="6da7715ce44349b3" providerId="LiveId" clId="{FC254C3F-0DA2-4768-8E5C-80D9632154D7}" dt="2021-05-20T06:20:55.972" v="4128" actId="20577"/>
          <ac:spMkLst>
            <pc:docMk/>
            <pc:sldMk cId="2159222150" sldId="2169"/>
            <ac:spMk id="16" creationId="{6C2BB713-9637-4B9B-938F-E9768876782A}"/>
          </ac:spMkLst>
        </pc:spChg>
        <pc:spChg chg="mod">
          <ac:chgData name="Aurelien Domont" userId="6da7715ce44349b3" providerId="LiveId" clId="{FC254C3F-0DA2-4768-8E5C-80D9632154D7}" dt="2021-05-21T05:28:48.338" v="6604" actId="20577"/>
          <ac:spMkLst>
            <pc:docMk/>
            <pc:sldMk cId="2159222150" sldId="2169"/>
            <ac:spMk id="19" creationId="{E80A8B79-CE40-481D-B7B1-540C9402CE33}"/>
          </ac:spMkLst>
        </pc:spChg>
        <pc:spChg chg="del">
          <ac:chgData name="Aurelien Domont" userId="6da7715ce44349b3" providerId="LiveId" clId="{FC254C3F-0DA2-4768-8E5C-80D9632154D7}" dt="2021-05-20T06:24:16.813" v="4165" actId="478"/>
          <ac:spMkLst>
            <pc:docMk/>
            <pc:sldMk cId="2159222150" sldId="2169"/>
            <ac:spMk id="20" creationId="{99B22DB5-DE28-4DF1-80CF-44E0D7EF7DC1}"/>
          </ac:spMkLst>
        </pc:spChg>
        <pc:spChg chg="add mod">
          <ac:chgData name="Aurelien Domont" userId="6da7715ce44349b3" providerId="LiveId" clId="{FC254C3F-0DA2-4768-8E5C-80D9632154D7}" dt="2021-05-21T05:16:06.539" v="6299" actId="20577"/>
          <ac:spMkLst>
            <pc:docMk/>
            <pc:sldMk cId="2159222150" sldId="2169"/>
            <ac:spMk id="24" creationId="{0F9E4179-95B2-4E43-A459-DEC57999546A}"/>
          </ac:spMkLst>
        </pc:spChg>
        <pc:spChg chg="add mod ord">
          <ac:chgData name="Aurelien Domont" userId="6da7715ce44349b3" providerId="LiveId" clId="{FC254C3F-0DA2-4768-8E5C-80D9632154D7}" dt="2021-05-20T06:24:19.457" v="4167" actId="167"/>
          <ac:spMkLst>
            <pc:docMk/>
            <pc:sldMk cId="2159222150" sldId="2169"/>
            <ac:spMk id="29" creationId="{E5378FDD-C8CC-4F73-9FE4-FD36689D7346}"/>
          </ac:spMkLst>
        </pc:spChg>
        <pc:picChg chg="mod">
          <ac:chgData name="Aurelien Domont" userId="6da7715ce44349b3" providerId="LiveId" clId="{FC254C3F-0DA2-4768-8E5C-80D9632154D7}" dt="2021-05-20T06:19:32.209" v="4093" actId="207"/>
          <ac:picMkLst>
            <pc:docMk/>
            <pc:sldMk cId="2159222150" sldId="2169"/>
            <ac:picMk id="23" creationId="{67975E7E-1A86-4ACC-83E3-5B3EB0E3B728}"/>
          </ac:picMkLst>
        </pc:picChg>
      </pc:sldChg>
      <pc:sldChg chg="add del">
        <pc:chgData name="Aurelien Domont" userId="6da7715ce44349b3" providerId="LiveId" clId="{FC254C3F-0DA2-4768-8E5C-80D9632154D7}" dt="2021-05-20T06:51:55.937" v="4787" actId="47"/>
        <pc:sldMkLst>
          <pc:docMk/>
          <pc:sldMk cId="1998572614" sldId="2170"/>
        </pc:sldMkLst>
      </pc:sldChg>
      <pc:sldChg chg="addSp modSp add mod">
        <pc:chgData name="Aurelien Domont" userId="6da7715ce44349b3" providerId="LiveId" clId="{FC254C3F-0DA2-4768-8E5C-80D9632154D7}" dt="2021-05-21T05:16:44.936" v="6305" actId="20577"/>
        <pc:sldMkLst>
          <pc:docMk/>
          <pc:sldMk cId="1929697781" sldId="2171"/>
        </pc:sldMkLst>
        <pc:spChg chg="mod">
          <ac:chgData name="Aurelien Domont" userId="6da7715ce44349b3" providerId="LiveId" clId="{FC254C3F-0DA2-4768-8E5C-80D9632154D7}" dt="2021-05-21T05:16:44.936" v="6305" actId="20577"/>
          <ac:spMkLst>
            <pc:docMk/>
            <pc:sldMk cId="1929697781" sldId="2171"/>
            <ac:spMk id="16" creationId="{6C2BB713-9637-4B9B-938F-E9768876782A}"/>
          </ac:spMkLst>
        </pc:spChg>
        <pc:spChg chg="mod">
          <ac:chgData name="Aurelien Domont" userId="6da7715ce44349b3" providerId="LiveId" clId="{FC254C3F-0DA2-4768-8E5C-80D9632154D7}" dt="2021-05-20T06:50:12.872" v="4767" actId="113"/>
          <ac:spMkLst>
            <pc:docMk/>
            <pc:sldMk cId="1929697781" sldId="2171"/>
            <ac:spMk id="24" creationId="{3921BBDB-53B5-4760-9FC7-6E553D430312}"/>
          </ac:spMkLst>
        </pc:spChg>
        <pc:spChg chg="add mod">
          <ac:chgData name="Aurelien Domont" userId="6da7715ce44349b3" providerId="LiveId" clId="{FC254C3F-0DA2-4768-8E5C-80D9632154D7}" dt="2021-05-20T06:50:40.328" v="4769" actId="1076"/>
          <ac:spMkLst>
            <pc:docMk/>
            <pc:sldMk cId="1929697781" sldId="2171"/>
            <ac:spMk id="31" creationId="{C2E5C781-275B-471F-AC7B-0BFB8EBCE861}"/>
          </ac:spMkLst>
        </pc:spChg>
        <pc:spChg chg="mod">
          <ac:chgData name="Aurelien Domont" userId="6da7715ce44349b3" providerId="LiveId" clId="{FC254C3F-0DA2-4768-8E5C-80D9632154D7}" dt="2021-05-20T06:51:46.164" v="4786" actId="1035"/>
          <ac:spMkLst>
            <pc:docMk/>
            <pc:sldMk cId="1929697781" sldId="2171"/>
            <ac:spMk id="65" creationId="{D6534CDC-674F-4AB4-8A22-79E1A8CD2E92}"/>
          </ac:spMkLst>
        </pc:spChg>
        <pc:spChg chg="mod">
          <ac:chgData name="Aurelien Domont" userId="6da7715ce44349b3" providerId="LiveId" clId="{FC254C3F-0DA2-4768-8E5C-80D9632154D7}" dt="2021-05-20T06:51:46.164" v="4786" actId="1035"/>
          <ac:spMkLst>
            <pc:docMk/>
            <pc:sldMk cId="1929697781" sldId="2171"/>
            <ac:spMk id="66" creationId="{A663B09E-8C3F-443D-8C96-81B8EFA531E8}"/>
          </ac:spMkLst>
        </pc:spChg>
        <pc:spChg chg="mod">
          <ac:chgData name="Aurelien Domont" userId="6da7715ce44349b3" providerId="LiveId" clId="{FC254C3F-0DA2-4768-8E5C-80D9632154D7}" dt="2021-05-20T06:51:46.164" v="4786" actId="1035"/>
          <ac:spMkLst>
            <pc:docMk/>
            <pc:sldMk cId="1929697781" sldId="2171"/>
            <ac:spMk id="67" creationId="{FE63F62A-3736-44BC-B67F-36124629F578}"/>
          </ac:spMkLst>
        </pc:spChg>
        <pc:spChg chg="mod">
          <ac:chgData name="Aurelien Domont" userId="6da7715ce44349b3" providerId="LiveId" clId="{FC254C3F-0DA2-4768-8E5C-80D9632154D7}" dt="2021-05-20T06:51:46.164" v="4786" actId="1035"/>
          <ac:spMkLst>
            <pc:docMk/>
            <pc:sldMk cId="1929697781" sldId="2171"/>
            <ac:spMk id="68" creationId="{09FC8043-DFFE-45CA-BBDB-583DBFC2B262}"/>
          </ac:spMkLst>
        </pc:spChg>
        <pc:spChg chg="mod">
          <ac:chgData name="Aurelien Domont" userId="6da7715ce44349b3" providerId="LiveId" clId="{FC254C3F-0DA2-4768-8E5C-80D9632154D7}" dt="2021-05-20T06:51:46.164" v="4786" actId="1035"/>
          <ac:spMkLst>
            <pc:docMk/>
            <pc:sldMk cId="1929697781" sldId="2171"/>
            <ac:spMk id="69" creationId="{0C2A6138-D911-46CA-BEC8-060061FF9F4B}"/>
          </ac:spMkLst>
        </pc:spChg>
        <pc:spChg chg="mod">
          <ac:chgData name="Aurelien Domont" userId="6da7715ce44349b3" providerId="LiveId" clId="{FC254C3F-0DA2-4768-8E5C-80D9632154D7}" dt="2021-05-20T06:51:46.164" v="4786" actId="1035"/>
          <ac:spMkLst>
            <pc:docMk/>
            <pc:sldMk cId="1929697781" sldId="2171"/>
            <ac:spMk id="70" creationId="{11B80DD3-4AB5-4602-978F-A6D0EEE18F7E}"/>
          </ac:spMkLst>
        </pc:spChg>
        <pc:spChg chg="mod">
          <ac:chgData name="Aurelien Domont" userId="6da7715ce44349b3" providerId="LiveId" clId="{FC254C3F-0DA2-4768-8E5C-80D9632154D7}" dt="2021-05-20T06:51:46.164" v="4786" actId="1035"/>
          <ac:spMkLst>
            <pc:docMk/>
            <pc:sldMk cId="1929697781" sldId="2171"/>
            <ac:spMk id="71" creationId="{3907F25A-692B-484D-82A9-855E646528BF}"/>
          </ac:spMkLst>
        </pc:spChg>
        <pc:cxnChg chg="mod">
          <ac:chgData name="Aurelien Domont" userId="6da7715ce44349b3" providerId="LiveId" clId="{FC254C3F-0DA2-4768-8E5C-80D9632154D7}" dt="2021-05-20T06:51:46.164" v="4786" actId="1035"/>
          <ac:cxnSpMkLst>
            <pc:docMk/>
            <pc:sldMk cId="1929697781" sldId="2171"/>
            <ac:cxnSpMk id="80" creationId="{1D974ED0-C4BC-42F8-B795-D78037E6DE52}"/>
          </ac:cxnSpMkLst>
        </pc:cxnChg>
      </pc:sldChg>
      <pc:sldChg chg="addSp delSp modSp add mod">
        <pc:chgData name="Aurelien Domont" userId="6da7715ce44349b3" providerId="LiveId" clId="{FC254C3F-0DA2-4768-8E5C-80D9632154D7}" dt="2021-05-21T05:44:12.499" v="6774" actId="5793"/>
        <pc:sldMkLst>
          <pc:docMk/>
          <pc:sldMk cId="1513791665" sldId="2172"/>
        </pc:sldMkLst>
        <pc:spChg chg="del">
          <ac:chgData name="Aurelien Domont" userId="6da7715ce44349b3" providerId="LiveId" clId="{FC254C3F-0DA2-4768-8E5C-80D9632154D7}" dt="2021-05-20T06:52:48.018" v="4789" actId="478"/>
          <ac:spMkLst>
            <pc:docMk/>
            <pc:sldMk cId="1513791665" sldId="2172"/>
            <ac:spMk id="2" creationId="{6D628248-AD38-4C2A-83CF-E43F6C70F321}"/>
          </ac:spMkLst>
        </pc:spChg>
        <pc:spChg chg="add mod">
          <ac:chgData name="Aurelien Domont" userId="6da7715ce44349b3" providerId="LiveId" clId="{FC254C3F-0DA2-4768-8E5C-80D9632154D7}" dt="2021-05-21T04:58:49.870" v="5100" actId="20577"/>
          <ac:spMkLst>
            <pc:docMk/>
            <pc:sldMk cId="1513791665" sldId="2172"/>
            <ac:spMk id="7" creationId="{9CE8BA23-0BE7-4C32-9214-CF7DB3F48F3A}"/>
          </ac:spMkLst>
        </pc:spChg>
        <pc:spChg chg="del">
          <ac:chgData name="Aurelien Domont" userId="6da7715ce44349b3" providerId="LiveId" clId="{FC254C3F-0DA2-4768-8E5C-80D9632154D7}" dt="2021-05-20T06:52:48.018" v="4789" actId="478"/>
          <ac:spMkLst>
            <pc:docMk/>
            <pc:sldMk cId="1513791665" sldId="2172"/>
            <ac:spMk id="14" creationId="{4F8E8BE3-E03F-4660-8B85-A88E09962FBC}"/>
          </ac:spMkLst>
        </pc:spChg>
        <pc:spChg chg="del">
          <ac:chgData name="Aurelien Domont" userId="6da7715ce44349b3" providerId="LiveId" clId="{FC254C3F-0DA2-4768-8E5C-80D9632154D7}" dt="2021-05-20T06:52:48.018" v="4789" actId="478"/>
          <ac:spMkLst>
            <pc:docMk/>
            <pc:sldMk cId="1513791665" sldId="2172"/>
            <ac:spMk id="15" creationId="{5290C28F-0900-48CA-A5F6-5DD7D1EA251B}"/>
          </ac:spMkLst>
        </pc:spChg>
        <pc:spChg chg="mod">
          <ac:chgData name="Aurelien Domont" userId="6da7715ce44349b3" providerId="LiveId" clId="{FC254C3F-0DA2-4768-8E5C-80D9632154D7}" dt="2021-05-21T05:35:36.922" v="6670" actId="790"/>
          <ac:spMkLst>
            <pc:docMk/>
            <pc:sldMk cId="1513791665" sldId="2172"/>
            <ac:spMk id="16" creationId="{6C2BB713-9637-4B9B-938F-E9768876782A}"/>
          </ac:spMkLst>
        </pc:spChg>
        <pc:spChg chg="del">
          <ac:chgData name="Aurelien Domont" userId="6da7715ce44349b3" providerId="LiveId" clId="{FC254C3F-0DA2-4768-8E5C-80D9632154D7}" dt="2021-05-20T06:52:48.018" v="4789" actId="478"/>
          <ac:spMkLst>
            <pc:docMk/>
            <pc:sldMk cId="1513791665" sldId="2172"/>
            <ac:spMk id="17" creationId="{FB20B082-C2A9-42A5-93F6-13472F952D4E}"/>
          </ac:spMkLst>
        </pc:spChg>
        <pc:spChg chg="del">
          <ac:chgData name="Aurelien Domont" userId="6da7715ce44349b3" providerId="LiveId" clId="{FC254C3F-0DA2-4768-8E5C-80D9632154D7}" dt="2021-05-20T06:52:48.018" v="4789" actId="478"/>
          <ac:spMkLst>
            <pc:docMk/>
            <pc:sldMk cId="1513791665" sldId="2172"/>
            <ac:spMk id="18" creationId="{2761F4DA-2E32-4BAE-AAE4-4CB2C3DAB4BF}"/>
          </ac:spMkLst>
        </pc:spChg>
        <pc:spChg chg="del">
          <ac:chgData name="Aurelien Domont" userId="6da7715ce44349b3" providerId="LiveId" clId="{FC254C3F-0DA2-4768-8E5C-80D9632154D7}" dt="2021-05-20T06:52:48.018" v="4789" actId="478"/>
          <ac:spMkLst>
            <pc:docMk/>
            <pc:sldMk cId="1513791665" sldId="2172"/>
            <ac:spMk id="19" creationId="{E80A8B79-CE40-481D-B7B1-540C9402CE33}"/>
          </ac:spMkLst>
        </pc:spChg>
        <pc:spChg chg="del">
          <ac:chgData name="Aurelien Domont" userId="6da7715ce44349b3" providerId="LiveId" clId="{FC254C3F-0DA2-4768-8E5C-80D9632154D7}" dt="2021-05-20T06:52:48.018" v="4789" actId="478"/>
          <ac:spMkLst>
            <pc:docMk/>
            <pc:sldMk cId="1513791665" sldId="2172"/>
            <ac:spMk id="21" creationId="{798B40C6-808E-4923-922F-F5CA4F10A55F}"/>
          </ac:spMkLst>
        </pc:spChg>
        <pc:spChg chg="del">
          <ac:chgData name="Aurelien Domont" userId="6da7715ce44349b3" providerId="LiveId" clId="{FC254C3F-0DA2-4768-8E5C-80D9632154D7}" dt="2021-05-20T06:52:48.018" v="4789" actId="478"/>
          <ac:spMkLst>
            <pc:docMk/>
            <pc:sldMk cId="1513791665" sldId="2172"/>
            <ac:spMk id="24" creationId="{0F9E4179-95B2-4E43-A459-DEC57999546A}"/>
          </ac:spMkLst>
        </pc:spChg>
        <pc:spChg chg="del">
          <ac:chgData name="Aurelien Domont" userId="6da7715ce44349b3" providerId="LiveId" clId="{FC254C3F-0DA2-4768-8E5C-80D9632154D7}" dt="2021-05-20T06:52:48.018" v="4789" actId="478"/>
          <ac:spMkLst>
            <pc:docMk/>
            <pc:sldMk cId="1513791665" sldId="2172"/>
            <ac:spMk id="25" creationId="{E241990F-DA40-4A83-9006-0B21ACC5A549}"/>
          </ac:spMkLst>
        </pc:spChg>
        <pc:spChg chg="del">
          <ac:chgData name="Aurelien Domont" userId="6da7715ce44349b3" providerId="LiveId" clId="{FC254C3F-0DA2-4768-8E5C-80D9632154D7}" dt="2021-05-20T06:52:48.018" v="4789" actId="478"/>
          <ac:spMkLst>
            <pc:docMk/>
            <pc:sldMk cId="1513791665" sldId="2172"/>
            <ac:spMk id="26" creationId="{587BA8FD-985D-41B8-8517-56D5670B106B}"/>
          </ac:spMkLst>
        </pc:spChg>
        <pc:spChg chg="del">
          <ac:chgData name="Aurelien Domont" userId="6da7715ce44349b3" providerId="LiveId" clId="{FC254C3F-0DA2-4768-8E5C-80D9632154D7}" dt="2021-05-20T06:52:48.018" v="4789" actId="478"/>
          <ac:spMkLst>
            <pc:docMk/>
            <pc:sldMk cId="1513791665" sldId="2172"/>
            <ac:spMk id="27" creationId="{F15BA993-0961-4C42-B006-EDDD6AB1B14F}"/>
          </ac:spMkLst>
        </pc:spChg>
        <pc:spChg chg="del">
          <ac:chgData name="Aurelien Domont" userId="6da7715ce44349b3" providerId="LiveId" clId="{FC254C3F-0DA2-4768-8E5C-80D9632154D7}" dt="2021-05-20T06:52:48.018" v="4789" actId="478"/>
          <ac:spMkLst>
            <pc:docMk/>
            <pc:sldMk cId="1513791665" sldId="2172"/>
            <ac:spMk id="28" creationId="{32B8777D-02B3-436F-BEE5-C13F2DDA3B54}"/>
          </ac:spMkLst>
        </pc:spChg>
        <pc:spChg chg="del">
          <ac:chgData name="Aurelien Domont" userId="6da7715ce44349b3" providerId="LiveId" clId="{FC254C3F-0DA2-4768-8E5C-80D9632154D7}" dt="2021-05-20T06:52:48.018" v="4789" actId="478"/>
          <ac:spMkLst>
            <pc:docMk/>
            <pc:sldMk cId="1513791665" sldId="2172"/>
            <ac:spMk id="29" creationId="{E5378FDD-C8CC-4F73-9FE4-FD36689D7346}"/>
          </ac:spMkLst>
        </pc:spChg>
        <pc:graphicFrameChg chg="add mod modGraphic">
          <ac:chgData name="Aurelien Domont" userId="6da7715ce44349b3" providerId="LiveId" clId="{FC254C3F-0DA2-4768-8E5C-80D9632154D7}" dt="2021-05-21T05:44:12.499" v="6774" actId="5793"/>
          <ac:graphicFrameMkLst>
            <pc:docMk/>
            <pc:sldMk cId="1513791665" sldId="2172"/>
            <ac:graphicFrameMk id="5" creationId="{EC9A5040-7A95-43F9-B671-0F0285DEB5DD}"/>
          </ac:graphicFrameMkLst>
        </pc:graphicFrameChg>
        <pc:picChg chg="del">
          <ac:chgData name="Aurelien Domont" userId="6da7715ce44349b3" providerId="LiveId" clId="{FC254C3F-0DA2-4768-8E5C-80D9632154D7}" dt="2021-05-20T06:52:48.018" v="4789" actId="478"/>
          <ac:picMkLst>
            <pc:docMk/>
            <pc:sldMk cId="1513791665" sldId="2172"/>
            <ac:picMk id="23" creationId="{67975E7E-1A86-4ACC-83E3-5B3EB0E3B728}"/>
          </ac:picMkLst>
        </pc:picChg>
        <pc:cxnChg chg="del">
          <ac:chgData name="Aurelien Domont" userId="6da7715ce44349b3" providerId="LiveId" clId="{FC254C3F-0DA2-4768-8E5C-80D9632154D7}" dt="2021-05-20T06:52:48.018" v="4789" actId="478"/>
          <ac:cxnSpMkLst>
            <pc:docMk/>
            <pc:sldMk cId="1513791665" sldId="2172"/>
            <ac:cxnSpMk id="5" creationId="{00AFC06A-5C5E-4817-8604-00B34BE606D8}"/>
          </ac:cxnSpMkLst>
        </pc:cxnChg>
        <pc:cxnChg chg="add mod">
          <ac:chgData name="Aurelien Domont" userId="6da7715ce44349b3" providerId="LiveId" clId="{FC254C3F-0DA2-4768-8E5C-80D9632154D7}" dt="2021-05-21T04:55:31.954" v="5076"/>
          <ac:cxnSpMkLst>
            <pc:docMk/>
            <pc:sldMk cId="1513791665" sldId="2172"/>
            <ac:cxnSpMk id="6" creationId="{99BA70D7-673F-410A-8B92-4D8240BFD837}"/>
          </ac:cxnSpMkLst>
        </pc:cxnChg>
        <pc:cxnChg chg="del">
          <ac:chgData name="Aurelien Domont" userId="6da7715ce44349b3" providerId="LiveId" clId="{FC254C3F-0DA2-4768-8E5C-80D9632154D7}" dt="2021-05-20T06:52:48.018" v="4789" actId="478"/>
          <ac:cxnSpMkLst>
            <pc:docMk/>
            <pc:sldMk cId="1513791665" sldId="2172"/>
            <ac:cxnSpMk id="22" creationId="{60A3B7B3-C031-4667-81D6-FBC426F9A3D7}"/>
          </ac:cxnSpMkLst>
        </pc:cxnChg>
      </pc:sldChg>
      <pc:sldChg chg="addSp modSp add del mod">
        <pc:chgData name="Aurelien Domont" userId="6da7715ce44349b3" providerId="LiveId" clId="{FC254C3F-0DA2-4768-8E5C-80D9632154D7}" dt="2021-05-21T05:30:00.433" v="6615" actId="47"/>
        <pc:sldMkLst>
          <pc:docMk/>
          <pc:sldMk cId="3607810813" sldId="2173"/>
        </pc:sldMkLst>
        <pc:spChg chg="add mod">
          <ac:chgData name="Aurelien Domont" userId="6da7715ce44349b3" providerId="LiveId" clId="{FC254C3F-0DA2-4768-8E5C-80D9632154D7}" dt="2021-05-21T05:26:03.902" v="6558" actId="1076"/>
          <ac:spMkLst>
            <pc:docMk/>
            <pc:sldMk cId="3607810813" sldId="2173"/>
            <ac:spMk id="8" creationId="{C0592CE2-EDB1-4F2A-94C6-F87AFD8C432D}"/>
          </ac:spMkLst>
        </pc:spChg>
        <pc:spChg chg="add mod">
          <ac:chgData name="Aurelien Domont" userId="6da7715ce44349b3" providerId="LiveId" clId="{FC254C3F-0DA2-4768-8E5C-80D9632154D7}" dt="2021-05-21T05:26:03.902" v="6558" actId="1076"/>
          <ac:spMkLst>
            <pc:docMk/>
            <pc:sldMk cId="3607810813" sldId="2173"/>
            <ac:spMk id="9" creationId="{688DCE4B-A762-4ADB-8086-1FA50E5CF510}"/>
          </ac:spMkLst>
        </pc:spChg>
        <pc:spChg chg="add mod">
          <ac:chgData name="Aurelien Domont" userId="6da7715ce44349b3" providerId="LiveId" clId="{FC254C3F-0DA2-4768-8E5C-80D9632154D7}" dt="2021-05-21T05:26:03.902" v="6558" actId="1076"/>
          <ac:spMkLst>
            <pc:docMk/>
            <pc:sldMk cId="3607810813" sldId="2173"/>
            <ac:spMk id="10" creationId="{33662BA5-2CA7-4BE1-89F2-F9E6D0A62910}"/>
          </ac:spMkLst>
        </pc:spChg>
        <pc:spChg chg="add mod">
          <ac:chgData name="Aurelien Domont" userId="6da7715ce44349b3" providerId="LiveId" clId="{FC254C3F-0DA2-4768-8E5C-80D9632154D7}" dt="2021-05-21T05:12:21.888" v="6158" actId="14100"/>
          <ac:spMkLst>
            <pc:docMk/>
            <pc:sldMk cId="3607810813" sldId="2173"/>
            <ac:spMk id="11" creationId="{BDC34D1C-4F2E-4FA9-9DC8-3C086B22F797}"/>
          </ac:spMkLst>
        </pc:spChg>
      </pc:sldChg>
      <pc:sldChg chg="addSp delSp modSp add mod">
        <pc:chgData name="Aurelien Domont" userId="6da7715ce44349b3" providerId="LiveId" clId="{FC254C3F-0DA2-4768-8E5C-80D9632154D7}" dt="2021-05-21T05:29:44.903" v="6609"/>
        <pc:sldMkLst>
          <pc:docMk/>
          <pc:sldMk cId="2826303449" sldId="2174"/>
        </pc:sldMkLst>
        <pc:spChg chg="del">
          <ac:chgData name="Aurelien Domont" userId="6da7715ce44349b3" providerId="LiveId" clId="{FC254C3F-0DA2-4768-8E5C-80D9632154D7}" dt="2021-05-21T05:22:00.464" v="6372" actId="478"/>
          <ac:spMkLst>
            <pc:docMk/>
            <pc:sldMk cId="2826303449" sldId="2174"/>
            <ac:spMk id="14" creationId="{4F8E8BE3-E03F-4660-8B85-A88E09962FBC}"/>
          </ac:spMkLst>
        </pc:spChg>
        <pc:spChg chg="del">
          <ac:chgData name="Aurelien Domont" userId="6da7715ce44349b3" providerId="LiveId" clId="{FC254C3F-0DA2-4768-8E5C-80D9632154D7}" dt="2021-05-21T05:22:00.464" v="6372" actId="478"/>
          <ac:spMkLst>
            <pc:docMk/>
            <pc:sldMk cId="2826303449" sldId="2174"/>
            <ac:spMk id="15" creationId="{5290C28F-0900-48CA-A5F6-5DD7D1EA251B}"/>
          </ac:spMkLst>
        </pc:spChg>
        <pc:spChg chg="mod">
          <ac:chgData name="Aurelien Domont" userId="6da7715ce44349b3" providerId="LiveId" clId="{FC254C3F-0DA2-4768-8E5C-80D9632154D7}" dt="2021-05-21T05:22:19.245" v="6440" actId="20577"/>
          <ac:spMkLst>
            <pc:docMk/>
            <pc:sldMk cId="2826303449" sldId="2174"/>
            <ac:spMk id="16" creationId="{6C2BB713-9637-4B9B-938F-E9768876782A}"/>
          </ac:spMkLst>
        </pc:spChg>
        <pc:spChg chg="del">
          <ac:chgData name="Aurelien Domont" userId="6da7715ce44349b3" providerId="LiveId" clId="{FC254C3F-0DA2-4768-8E5C-80D9632154D7}" dt="2021-05-21T05:22:00.464" v="6372" actId="478"/>
          <ac:spMkLst>
            <pc:docMk/>
            <pc:sldMk cId="2826303449" sldId="2174"/>
            <ac:spMk id="17" creationId="{FB20B082-C2A9-42A5-93F6-13472F952D4E}"/>
          </ac:spMkLst>
        </pc:spChg>
        <pc:spChg chg="del">
          <ac:chgData name="Aurelien Domont" userId="6da7715ce44349b3" providerId="LiveId" clId="{FC254C3F-0DA2-4768-8E5C-80D9632154D7}" dt="2021-05-21T05:22:00.464" v="6372" actId="478"/>
          <ac:spMkLst>
            <pc:docMk/>
            <pc:sldMk cId="2826303449" sldId="2174"/>
            <ac:spMk id="18" creationId="{2761F4DA-2E32-4BAE-AAE4-4CB2C3DAB4BF}"/>
          </ac:spMkLst>
        </pc:spChg>
        <pc:spChg chg="del">
          <ac:chgData name="Aurelien Domont" userId="6da7715ce44349b3" providerId="LiveId" clId="{FC254C3F-0DA2-4768-8E5C-80D9632154D7}" dt="2021-05-21T05:22:00.464" v="6372" actId="478"/>
          <ac:spMkLst>
            <pc:docMk/>
            <pc:sldMk cId="2826303449" sldId="2174"/>
            <ac:spMk id="19" creationId="{E80A8B79-CE40-481D-B7B1-540C9402CE33}"/>
          </ac:spMkLst>
        </pc:spChg>
        <pc:spChg chg="del">
          <ac:chgData name="Aurelien Domont" userId="6da7715ce44349b3" providerId="LiveId" clId="{FC254C3F-0DA2-4768-8E5C-80D9632154D7}" dt="2021-05-21T05:22:00.464" v="6372" actId="478"/>
          <ac:spMkLst>
            <pc:docMk/>
            <pc:sldMk cId="2826303449" sldId="2174"/>
            <ac:spMk id="20" creationId="{99B22DB5-DE28-4DF1-80CF-44E0D7EF7DC1}"/>
          </ac:spMkLst>
        </pc:spChg>
        <pc:spChg chg="del">
          <ac:chgData name="Aurelien Domont" userId="6da7715ce44349b3" providerId="LiveId" clId="{FC254C3F-0DA2-4768-8E5C-80D9632154D7}" dt="2021-05-21T05:22:00.464" v="6372" actId="478"/>
          <ac:spMkLst>
            <pc:docMk/>
            <pc:sldMk cId="2826303449" sldId="2174"/>
            <ac:spMk id="21" creationId="{798B40C6-808E-4923-922F-F5CA4F10A55F}"/>
          </ac:spMkLst>
        </pc:spChg>
        <pc:spChg chg="add mod">
          <ac:chgData name="Aurelien Domont" userId="6da7715ce44349b3" providerId="LiveId" clId="{FC254C3F-0DA2-4768-8E5C-80D9632154D7}" dt="2021-05-21T05:25:42.857" v="6552" actId="20577"/>
          <ac:spMkLst>
            <pc:docMk/>
            <pc:sldMk cId="2826303449" sldId="2174"/>
            <ac:spMk id="24" creationId="{8A395014-5D91-404D-AC40-583B7E33212D}"/>
          </ac:spMkLst>
        </pc:spChg>
        <pc:spChg chg="del">
          <ac:chgData name="Aurelien Domont" userId="6da7715ce44349b3" providerId="LiveId" clId="{FC254C3F-0DA2-4768-8E5C-80D9632154D7}" dt="2021-05-21T05:22:00.464" v="6372" actId="478"/>
          <ac:spMkLst>
            <pc:docMk/>
            <pc:sldMk cId="2826303449" sldId="2174"/>
            <ac:spMk id="25" creationId="{E241990F-DA40-4A83-9006-0B21ACC5A549}"/>
          </ac:spMkLst>
        </pc:spChg>
        <pc:spChg chg="del">
          <ac:chgData name="Aurelien Domont" userId="6da7715ce44349b3" providerId="LiveId" clId="{FC254C3F-0DA2-4768-8E5C-80D9632154D7}" dt="2021-05-21T05:22:00.464" v="6372" actId="478"/>
          <ac:spMkLst>
            <pc:docMk/>
            <pc:sldMk cId="2826303449" sldId="2174"/>
            <ac:spMk id="26" creationId="{587BA8FD-985D-41B8-8517-56D5670B106B}"/>
          </ac:spMkLst>
        </pc:spChg>
        <pc:spChg chg="del">
          <ac:chgData name="Aurelien Domont" userId="6da7715ce44349b3" providerId="LiveId" clId="{FC254C3F-0DA2-4768-8E5C-80D9632154D7}" dt="2021-05-21T05:22:00.464" v="6372" actId="478"/>
          <ac:spMkLst>
            <pc:docMk/>
            <pc:sldMk cId="2826303449" sldId="2174"/>
            <ac:spMk id="27" creationId="{F15BA993-0961-4C42-B006-EDDD6AB1B14F}"/>
          </ac:spMkLst>
        </pc:spChg>
        <pc:spChg chg="del">
          <ac:chgData name="Aurelien Domont" userId="6da7715ce44349b3" providerId="LiveId" clId="{FC254C3F-0DA2-4768-8E5C-80D9632154D7}" dt="2021-05-21T05:22:00.464" v="6372" actId="478"/>
          <ac:spMkLst>
            <pc:docMk/>
            <pc:sldMk cId="2826303449" sldId="2174"/>
            <ac:spMk id="28" creationId="{32B8777D-02B3-436F-BEE5-C13F2DDA3B54}"/>
          </ac:spMkLst>
        </pc:spChg>
        <pc:spChg chg="del">
          <ac:chgData name="Aurelien Domont" userId="6da7715ce44349b3" providerId="LiveId" clId="{FC254C3F-0DA2-4768-8E5C-80D9632154D7}" dt="2021-05-21T05:22:00.464" v="6372" actId="478"/>
          <ac:spMkLst>
            <pc:docMk/>
            <pc:sldMk cId="2826303449" sldId="2174"/>
            <ac:spMk id="29" creationId="{2690FBE3-8DD2-4906-BBE8-EABB0093850D}"/>
          </ac:spMkLst>
        </pc:spChg>
        <pc:spChg chg="add mod">
          <ac:chgData name="Aurelien Domont" userId="6da7715ce44349b3" providerId="LiveId" clId="{FC254C3F-0DA2-4768-8E5C-80D9632154D7}" dt="2021-05-21T05:25:49.188" v="6553"/>
          <ac:spMkLst>
            <pc:docMk/>
            <pc:sldMk cId="2826303449" sldId="2174"/>
            <ac:spMk id="30" creationId="{0C4DDDBF-6224-4C18-9535-80D724B5A005}"/>
          </ac:spMkLst>
        </pc:spChg>
        <pc:spChg chg="add mod">
          <ac:chgData name="Aurelien Domont" userId="6da7715ce44349b3" providerId="LiveId" clId="{FC254C3F-0DA2-4768-8E5C-80D9632154D7}" dt="2021-05-21T05:25:50.375" v="6554"/>
          <ac:spMkLst>
            <pc:docMk/>
            <pc:sldMk cId="2826303449" sldId="2174"/>
            <ac:spMk id="31" creationId="{36C80EE7-A952-4C06-AEBC-36E279DA82B4}"/>
          </ac:spMkLst>
        </pc:spChg>
        <pc:spChg chg="add mod">
          <ac:chgData name="Aurelien Domont" userId="6da7715ce44349b3" providerId="LiveId" clId="{FC254C3F-0DA2-4768-8E5C-80D9632154D7}" dt="2021-05-21T05:25:51.953" v="6555"/>
          <ac:spMkLst>
            <pc:docMk/>
            <pc:sldMk cId="2826303449" sldId="2174"/>
            <ac:spMk id="32" creationId="{704C159A-FC4B-49F3-8352-D1D4BA4034E5}"/>
          </ac:spMkLst>
        </pc:spChg>
        <pc:spChg chg="add mod">
          <ac:chgData name="Aurelien Domont" userId="6da7715ce44349b3" providerId="LiveId" clId="{FC254C3F-0DA2-4768-8E5C-80D9632154D7}" dt="2021-05-21T05:25:53.298" v="6556"/>
          <ac:spMkLst>
            <pc:docMk/>
            <pc:sldMk cId="2826303449" sldId="2174"/>
            <ac:spMk id="33" creationId="{AA35D460-C892-4B10-9EC0-CBB254784F0F}"/>
          </ac:spMkLst>
        </pc:spChg>
        <pc:spChg chg="add mod">
          <ac:chgData name="Aurelien Domont" userId="6da7715ce44349b3" providerId="LiveId" clId="{FC254C3F-0DA2-4768-8E5C-80D9632154D7}" dt="2021-05-21T05:25:27.297" v="6514" actId="207"/>
          <ac:spMkLst>
            <pc:docMk/>
            <pc:sldMk cId="2826303449" sldId="2174"/>
            <ac:spMk id="34" creationId="{A9CD1C23-B252-4F5C-B241-662F7FC0E014}"/>
          </ac:spMkLst>
        </pc:spChg>
        <pc:spChg chg="add mod">
          <ac:chgData name="Aurelien Domont" userId="6da7715ce44349b3" providerId="LiveId" clId="{FC254C3F-0DA2-4768-8E5C-80D9632154D7}" dt="2021-05-21T05:25:27.297" v="6514" actId="207"/>
          <ac:spMkLst>
            <pc:docMk/>
            <pc:sldMk cId="2826303449" sldId="2174"/>
            <ac:spMk id="35" creationId="{1840DC24-6AD9-4A79-9CFD-8E3CECC35C55}"/>
          </ac:spMkLst>
        </pc:spChg>
        <pc:spChg chg="add mod">
          <ac:chgData name="Aurelien Domont" userId="6da7715ce44349b3" providerId="LiveId" clId="{FC254C3F-0DA2-4768-8E5C-80D9632154D7}" dt="2021-05-21T05:25:27.297" v="6514" actId="207"/>
          <ac:spMkLst>
            <pc:docMk/>
            <pc:sldMk cId="2826303449" sldId="2174"/>
            <ac:spMk id="36" creationId="{80E41528-6D0D-49D0-B90D-0FBB3C43E966}"/>
          </ac:spMkLst>
        </pc:spChg>
        <pc:spChg chg="add mod">
          <ac:chgData name="Aurelien Domont" userId="6da7715ce44349b3" providerId="LiveId" clId="{FC254C3F-0DA2-4768-8E5C-80D9632154D7}" dt="2021-05-21T05:25:27.297" v="6514" actId="207"/>
          <ac:spMkLst>
            <pc:docMk/>
            <pc:sldMk cId="2826303449" sldId="2174"/>
            <ac:spMk id="37" creationId="{6F8476AC-84C9-4CCE-A24B-70A1AC14E37C}"/>
          </ac:spMkLst>
        </pc:spChg>
        <pc:spChg chg="add mod">
          <ac:chgData name="Aurelien Domont" userId="6da7715ce44349b3" providerId="LiveId" clId="{FC254C3F-0DA2-4768-8E5C-80D9632154D7}" dt="2021-05-21T05:29:44.903" v="6609"/>
          <ac:spMkLst>
            <pc:docMk/>
            <pc:sldMk cId="2826303449" sldId="2174"/>
            <ac:spMk id="38" creationId="{ADBAC328-B66A-48C6-A762-CEADDF413E82}"/>
          </ac:spMkLst>
        </pc:spChg>
        <pc:spChg chg="add del mod">
          <ac:chgData name="Aurelien Domont" userId="6da7715ce44349b3" providerId="LiveId" clId="{FC254C3F-0DA2-4768-8E5C-80D9632154D7}" dt="2021-05-21T05:24:16.272" v="6454" actId="478"/>
          <ac:spMkLst>
            <pc:docMk/>
            <pc:sldMk cId="2826303449" sldId="2174"/>
            <ac:spMk id="39" creationId="{011184BE-E3A1-4AF9-9871-53AC34A9FDCC}"/>
          </ac:spMkLst>
        </pc:spChg>
        <pc:spChg chg="add del mod">
          <ac:chgData name="Aurelien Domont" userId="6da7715ce44349b3" providerId="LiveId" clId="{FC254C3F-0DA2-4768-8E5C-80D9632154D7}" dt="2021-05-21T05:24:16.272" v="6454" actId="478"/>
          <ac:spMkLst>
            <pc:docMk/>
            <pc:sldMk cId="2826303449" sldId="2174"/>
            <ac:spMk id="40" creationId="{47373D44-8F4E-4328-B35D-9E0C0FDEE760}"/>
          </ac:spMkLst>
        </pc:spChg>
        <pc:spChg chg="add del mod">
          <ac:chgData name="Aurelien Domont" userId="6da7715ce44349b3" providerId="LiveId" clId="{FC254C3F-0DA2-4768-8E5C-80D9632154D7}" dt="2021-05-21T05:24:16.272" v="6454" actId="478"/>
          <ac:spMkLst>
            <pc:docMk/>
            <pc:sldMk cId="2826303449" sldId="2174"/>
            <ac:spMk id="41" creationId="{FD1049AA-8A02-49F1-8606-74A5A17DCA3F}"/>
          </ac:spMkLst>
        </pc:spChg>
        <pc:spChg chg="add del mod">
          <ac:chgData name="Aurelien Domont" userId="6da7715ce44349b3" providerId="LiveId" clId="{FC254C3F-0DA2-4768-8E5C-80D9632154D7}" dt="2021-05-21T05:24:16.272" v="6454" actId="478"/>
          <ac:spMkLst>
            <pc:docMk/>
            <pc:sldMk cId="2826303449" sldId="2174"/>
            <ac:spMk id="42" creationId="{8C00F2A2-B7A6-470E-AB00-709EC46C5AB1}"/>
          </ac:spMkLst>
        </pc:spChg>
        <pc:spChg chg="add mod">
          <ac:chgData name="Aurelien Domont" userId="6da7715ce44349b3" providerId="LiveId" clId="{FC254C3F-0DA2-4768-8E5C-80D9632154D7}" dt="2021-05-21T05:25:10.805" v="6512" actId="20577"/>
          <ac:spMkLst>
            <pc:docMk/>
            <pc:sldMk cId="2826303449" sldId="2174"/>
            <ac:spMk id="43" creationId="{CDAC9E33-CD3F-46AE-9A3B-1D828686C6DB}"/>
          </ac:spMkLst>
        </pc:spChg>
        <pc:spChg chg="add mod">
          <ac:chgData name="Aurelien Domont" userId="6da7715ce44349b3" providerId="LiveId" clId="{FC254C3F-0DA2-4768-8E5C-80D9632154D7}" dt="2021-05-21T05:25:04.606" v="6490" actId="20577"/>
          <ac:spMkLst>
            <pc:docMk/>
            <pc:sldMk cId="2826303449" sldId="2174"/>
            <ac:spMk id="44" creationId="{58FFB25E-48BE-49EC-AB5F-4B39FDBC21EA}"/>
          </ac:spMkLst>
        </pc:spChg>
        <pc:picChg chg="del">
          <ac:chgData name="Aurelien Domont" userId="6da7715ce44349b3" providerId="LiveId" clId="{FC254C3F-0DA2-4768-8E5C-80D9632154D7}" dt="2021-05-21T05:22:00.464" v="6372" actId="478"/>
          <ac:picMkLst>
            <pc:docMk/>
            <pc:sldMk cId="2826303449" sldId="2174"/>
            <ac:picMk id="23" creationId="{67975E7E-1A86-4ACC-83E3-5B3EB0E3B728}"/>
          </ac:picMkLst>
        </pc:picChg>
        <pc:cxnChg chg="del">
          <ac:chgData name="Aurelien Domont" userId="6da7715ce44349b3" providerId="LiveId" clId="{FC254C3F-0DA2-4768-8E5C-80D9632154D7}" dt="2021-05-21T05:22:00.464" v="6372" actId="478"/>
          <ac:cxnSpMkLst>
            <pc:docMk/>
            <pc:sldMk cId="2826303449" sldId="2174"/>
            <ac:cxnSpMk id="5" creationId="{00AFC06A-5C5E-4817-8604-00B34BE606D8}"/>
          </ac:cxnSpMkLst>
        </pc:cxnChg>
        <pc:cxnChg chg="del">
          <ac:chgData name="Aurelien Domont" userId="6da7715ce44349b3" providerId="LiveId" clId="{FC254C3F-0DA2-4768-8E5C-80D9632154D7}" dt="2021-05-21T05:22:00.464" v="6372" actId="478"/>
          <ac:cxnSpMkLst>
            <pc:docMk/>
            <pc:sldMk cId="2826303449" sldId="2174"/>
            <ac:cxnSpMk id="22" creationId="{60A3B7B3-C031-4667-81D6-FBC426F9A3D7}"/>
          </ac:cxnSpMkLst>
        </pc:cxnChg>
      </pc:sldChg>
      <pc:sldChg chg="addSp delSp modSp add mod">
        <pc:chgData name="Aurelien Domont" userId="6da7715ce44349b3" providerId="LiveId" clId="{FC254C3F-0DA2-4768-8E5C-80D9632154D7}" dt="2021-05-21T05:29:51.689" v="6613"/>
        <pc:sldMkLst>
          <pc:docMk/>
          <pc:sldMk cId="3324238393" sldId="2175"/>
        </pc:sldMkLst>
        <pc:spChg chg="add del mod">
          <ac:chgData name="Aurelien Domont" userId="6da7715ce44349b3" providerId="LiveId" clId="{FC254C3F-0DA2-4768-8E5C-80D9632154D7}" dt="2021-05-21T05:27:53.227" v="6587" actId="478"/>
          <ac:spMkLst>
            <pc:docMk/>
            <pc:sldMk cId="3324238393" sldId="2175"/>
            <ac:spMk id="2" creationId="{B1AE0011-272E-46CF-BE10-68A981ACA14B}"/>
          </ac:spMkLst>
        </pc:spChg>
        <pc:spChg chg="add mod ord">
          <ac:chgData name="Aurelien Domont" userId="6da7715ce44349b3" providerId="LiveId" clId="{FC254C3F-0DA2-4768-8E5C-80D9632154D7}" dt="2021-05-21T05:27:59.390" v="6589" actId="14100"/>
          <ac:spMkLst>
            <pc:docMk/>
            <pc:sldMk cId="3324238393" sldId="2175"/>
            <ac:spMk id="17" creationId="{2D67886B-EE66-408F-B12C-0E9272F68B81}"/>
          </ac:spMkLst>
        </pc:spChg>
        <pc:spChg chg="add mod">
          <ac:chgData name="Aurelien Domont" userId="6da7715ce44349b3" providerId="LiveId" clId="{FC254C3F-0DA2-4768-8E5C-80D9632154D7}" dt="2021-05-21T05:27:30.228" v="6580" actId="14100"/>
          <ac:spMkLst>
            <pc:docMk/>
            <pc:sldMk cId="3324238393" sldId="2175"/>
            <ac:spMk id="18" creationId="{60954C97-03A1-4F8F-82B0-8544FD27A1F8}"/>
          </ac:spMkLst>
        </pc:spChg>
        <pc:spChg chg="add del mod">
          <ac:chgData name="Aurelien Domont" userId="6da7715ce44349b3" providerId="LiveId" clId="{FC254C3F-0DA2-4768-8E5C-80D9632154D7}" dt="2021-05-21T05:28:20.429" v="6596" actId="478"/>
          <ac:spMkLst>
            <pc:docMk/>
            <pc:sldMk cId="3324238393" sldId="2175"/>
            <ac:spMk id="19" creationId="{351638CB-3752-4C9F-BE90-D36B4FDD2A42}"/>
          </ac:spMkLst>
        </pc:spChg>
        <pc:spChg chg="add del mod">
          <ac:chgData name="Aurelien Domont" userId="6da7715ce44349b3" providerId="LiveId" clId="{FC254C3F-0DA2-4768-8E5C-80D9632154D7}" dt="2021-05-21T05:28:20.429" v="6596" actId="478"/>
          <ac:spMkLst>
            <pc:docMk/>
            <pc:sldMk cId="3324238393" sldId="2175"/>
            <ac:spMk id="20" creationId="{A6CDDAC2-5838-445E-9BDE-BB98800A0E08}"/>
          </ac:spMkLst>
        </pc:spChg>
        <pc:spChg chg="add mod">
          <ac:chgData name="Aurelien Domont" userId="6da7715ce44349b3" providerId="LiveId" clId="{FC254C3F-0DA2-4768-8E5C-80D9632154D7}" dt="2021-05-21T05:28:13.125" v="6594"/>
          <ac:spMkLst>
            <pc:docMk/>
            <pc:sldMk cId="3324238393" sldId="2175"/>
            <ac:spMk id="22" creationId="{8E01C535-83E0-4037-A5E0-B048CA9F5839}"/>
          </ac:spMkLst>
        </pc:spChg>
        <pc:spChg chg="add mod">
          <ac:chgData name="Aurelien Domont" userId="6da7715ce44349b3" providerId="LiveId" clId="{FC254C3F-0DA2-4768-8E5C-80D9632154D7}" dt="2021-05-21T05:29:51.689" v="6613"/>
          <ac:spMkLst>
            <pc:docMk/>
            <pc:sldMk cId="3324238393" sldId="2175"/>
            <ac:spMk id="23" creationId="{4D5D024D-039F-4F29-88DA-E3E10AADB75F}"/>
          </ac:spMkLst>
        </pc:spChg>
        <pc:spChg chg="mod">
          <ac:chgData name="Aurelien Domont" userId="6da7715ce44349b3" providerId="LiveId" clId="{FC254C3F-0DA2-4768-8E5C-80D9632154D7}" dt="2021-05-21T05:29:48.539" v="6612"/>
          <ac:spMkLst>
            <pc:docMk/>
            <pc:sldMk cId="3324238393" sldId="2175"/>
            <ac:spMk id="38" creationId="{ADBAC328-B66A-48C6-A762-CEADDF413E82}"/>
          </ac:spMkLst>
        </pc:spChg>
      </pc:sldChg>
      <pc:sldChg chg="addSp delSp modSp add mod">
        <pc:chgData name="Aurelien Domont" userId="6da7715ce44349b3" providerId="LiveId" clId="{FC254C3F-0DA2-4768-8E5C-80D9632154D7}" dt="2021-05-21T05:44:17.357" v="6775" actId="113"/>
        <pc:sldMkLst>
          <pc:docMk/>
          <pc:sldMk cId="1141822668" sldId="2176"/>
        </pc:sldMkLst>
        <pc:spChg chg="add del mod">
          <ac:chgData name="Aurelien Domont" userId="6da7715ce44349b3" providerId="LiveId" clId="{FC254C3F-0DA2-4768-8E5C-80D9632154D7}" dt="2021-05-21T05:43:54.517" v="6769" actId="478"/>
          <ac:spMkLst>
            <pc:docMk/>
            <pc:sldMk cId="1141822668" sldId="2176"/>
            <ac:spMk id="2" creationId="{BE89546C-A8BB-4970-A688-848C20BBFADE}"/>
          </ac:spMkLst>
        </pc:spChg>
        <pc:spChg chg="add del mod">
          <ac:chgData name="Aurelien Domont" userId="6da7715ce44349b3" providerId="LiveId" clId="{FC254C3F-0DA2-4768-8E5C-80D9632154D7}" dt="2021-05-21T05:36:49.772" v="6681" actId="478"/>
          <ac:spMkLst>
            <pc:docMk/>
            <pc:sldMk cId="1141822668" sldId="2176"/>
            <ac:spMk id="8" creationId="{A8B174DC-D9F6-405D-87BC-8C44B3CAECFD}"/>
          </ac:spMkLst>
        </pc:spChg>
        <pc:spChg chg="add del mod">
          <ac:chgData name="Aurelien Domont" userId="6da7715ce44349b3" providerId="LiveId" clId="{FC254C3F-0DA2-4768-8E5C-80D9632154D7}" dt="2021-05-21T05:39:50.459" v="6723" actId="478"/>
          <ac:spMkLst>
            <pc:docMk/>
            <pc:sldMk cId="1141822668" sldId="2176"/>
            <ac:spMk id="10" creationId="{420CB5DD-0537-44EC-8ACE-33309A2F5B53}"/>
          </ac:spMkLst>
        </pc:spChg>
        <pc:spChg chg="mod">
          <ac:chgData name="Aurelien Domont" userId="6da7715ce44349b3" providerId="LiveId" clId="{FC254C3F-0DA2-4768-8E5C-80D9632154D7}" dt="2021-05-21T05:36:46.718" v="6680" actId="313"/>
          <ac:spMkLst>
            <pc:docMk/>
            <pc:sldMk cId="1141822668" sldId="2176"/>
            <ac:spMk id="16" creationId="{6C2BB713-9637-4B9B-938F-E9768876782A}"/>
          </ac:spMkLst>
        </pc:spChg>
        <pc:graphicFrameChg chg="del">
          <ac:chgData name="Aurelien Domont" userId="6da7715ce44349b3" providerId="LiveId" clId="{FC254C3F-0DA2-4768-8E5C-80D9632154D7}" dt="2021-05-21T05:36:25.477" v="6673" actId="478"/>
          <ac:graphicFrameMkLst>
            <pc:docMk/>
            <pc:sldMk cId="1141822668" sldId="2176"/>
            <ac:graphicFrameMk id="5" creationId="{EC9A5040-7A95-43F9-B671-0F0285DEB5DD}"/>
          </ac:graphicFrameMkLst>
        </pc:graphicFrameChg>
        <pc:graphicFrameChg chg="add mod modGraphic">
          <ac:chgData name="Aurelien Domont" userId="6da7715ce44349b3" providerId="LiveId" clId="{FC254C3F-0DA2-4768-8E5C-80D9632154D7}" dt="2021-05-21T05:44:17.357" v="6775" actId="113"/>
          <ac:graphicFrameMkLst>
            <pc:docMk/>
            <pc:sldMk cId="1141822668" sldId="2176"/>
            <ac:graphicFrameMk id="9" creationId="{E444264D-B8C0-43F0-BB97-5D36633E04CD}"/>
          </ac:graphicFrameMkLst>
        </pc:graphicFrameChg>
      </pc:sldChg>
      <pc:sldChg chg="addSp modSp add mod">
        <pc:chgData name="Aurelien Domont" userId="6da7715ce44349b3" providerId="LiveId" clId="{FC254C3F-0DA2-4768-8E5C-80D9632154D7}" dt="2021-05-21T05:46:20.901" v="6811" actId="20577"/>
        <pc:sldMkLst>
          <pc:docMk/>
          <pc:sldMk cId="3254900428" sldId="2177"/>
        </pc:sldMkLst>
        <pc:spChg chg="add mod">
          <ac:chgData name="Aurelien Domont" userId="6da7715ce44349b3" providerId="LiveId" clId="{FC254C3F-0DA2-4768-8E5C-80D9632154D7}" dt="2021-05-21T05:46:20.901" v="6811" actId="20577"/>
          <ac:spMkLst>
            <pc:docMk/>
            <pc:sldMk cId="3254900428" sldId="2177"/>
            <ac:spMk id="8" creationId="{B18C9CA2-262B-4882-8D5B-748F54D2129B}"/>
          </ac:spMkLst>
        </pc:spChg>
      </pc:sldChg>
      <pc:sldChg chg="addSp modSp add mod">
        <pc:chgData name="Aurelien Domont" userId="6da7715ce44349b3" providerId="LiveId" clId="{FC254C3F-0DA2-4768-8E5C-80D9632154D7}" dt="2021-05-26T03:45:12.407" v="6853" actId="167"/>
        <pc:sldMkLst>
          <pc:docMk/>
          <pc:sldMk cId="483759661" sldId="2178"/>
        </pc:sldMkLst>
        <pc:spChg chg="add mod ord">
          <ac:chgData name="Aurelien Domont" userId="6da7715ce44349b3" providerId="LiveId" clId="{FC254C3F-0DA2-4768-8E5C-80D9632154D7}" dt="2021-05-26T03:45:12.407" v="6853" actId="167"/>
          <ac:spMkLst>
            <pc:docMk/>
            <pc:sldMk cId="483759661" sldId="2178"/>
            <ac:spMk id="15" creationId="{D1D41F39-1E1F-402E-AD1F-A5FDB8A9FE95}"/>
          </ac:spMkLst>
        </pc:spChg>
        <pc:spChg chg="mod">
          <ac:chgData name="Aurelien Domont" userId="6da7715ce44349b3" providerId="LiveId" clId="{FC254C3F-0DA2-4768-8E5C-80D9632154D7}" dt="2021-05-26T03:43:53.445" v="6814"/>
          <ac:spMkLst>
            <pc:docMk/>
            <pc:sldMk cId="483759661" sldId="2178"/>
            <ac:spMk id="16" creationId="{6C2BB713-9637-4B9B-938F-E9768876782A}"/>
          </ac:spMkLst>
        </pc:spChg>
      </pc:sldChg>
      <pc:sldChg chg="modSp add mod">
        <pc:chgData name="Aurelien Domont" userId="6da7715ce44349b3" providerId="LiveId" clId="{FC254C3F-0DA2-4768-8E5C-80D9632154D7}" dt="2021-05-26T03:45:05.472" v="6852" actId="167"/>
        <pc:sldMkLst>
          <pc:docMk/>
          <pc:sldMk cId="3746824585" sldId="2179"/>
        </pc:sldMkLst>
        <pc:spChg chg="ord">
          <ac:chgData name="Aurelien Domont" userId="6da7715ce44349b3" providerId="LiveId" clId="{FC254C3F-0DA2-4768-8E5C-80D9632154D7}" dt="2021-05-26T03:45:05.472" v="6852" actId="167"/>
          <ac:spMkLst>
            <pc:docMk/>
            <pc:sldMk cId="3746824585" sldId="2179"/>
            <ac:spMk id="15" creationId="{D1D41F39-1E1F-402E-AD1F-A5FDB8A9FE95}"/>
          </ac:spMkLst>
        </pc:spChg>
        <pc:spChg chg="mod">
          <ac:chgData name="Aurelien Domont" userId="6da7715ce44349b3" providerId="LiveId" clId="{FC254C3F-0DA2-4768-8E5C-80D9632154D7}" dt="2021-05-26T03:44:53.721" v="6851" actId="20577"/>
          <ac:spMkLst>
            <pc:docMk/>
            <pc:sldMk cId="3746824585" sldId="2179"/>
            <ac:spMk id="16" creationId="{6C2BB713-9637-4B9B-938F-E9768876782A}"/>
          </ac:spMkLst>
        </pc:spChg>
      </pc:sldChg>
      <pc:sldChg chg="modSp add mod">
        <pc:chgData name="Aurelien Domont" userId="6da7715ce44349b3" providerId="LiveId" clId="{FC254C3F-0DA2-4768-8E5C-80D9632154D7}" dt="2021-05-26T03:46:08.468" v="6880" actId="20577"/>
        <pc:sldMkLst>
          <pc:docMk/>
          <pc:sldMk cId="3509969141" sldId="2180"/>
        </pc:sldMkLst>
        <pc:spChg chg="mod">
          <ac:chgData name="Aurelien Domont" userId="6da7715ce44349b3" providerId="LiveId" clId="{FC254C3F-0DA2-4768-8E5C-80D9632154D7}" dt="2021-05-26T03:45:56.422" v="6876" actId="1035"/>
          <ac:spMkLst>
            <pc:docMk/>
            <pc:sldMk cId="3509969141" sldId="2180"/>
            <ac:spMk id="15" creationId="{D1D41F39-1E1F-402E-AD1F-A5FDB8A9FE95}"/>
          </ac:spMkLst>
        </pc:spChg>
        <pc:spChg chg="mod">
          <ac:chgData name="Aurelien Domont" userId="6da7715ce44349b3" providerId="LiveId" clId="{FC254C3F-0DA2-4768-8E5C-80D9632154D7}" dt="2021-05-26T03:46:08.468" v="6880" actId="20577"/>
          <ac:spMkLst>
            <pc:docMk/>
            <pc:sldMk cId="3509969141" sldId="2180"/>
            <ac:spMk id="16" creationId="{6C2BB713-9637-4B9B-938F-E9768876782A}"/>
          </ac:spMkLst>
        </pc:spChg>
      </pc:sldChg>
      <pc:sldChg chg="modSp add mod">
        <pc:chgData name="Aurelien Domont" userId="6da7715ce44349b3" providerId="LiveId" clId="{FC254C3F-0DA2-4768-8E5C-80D9632154D7}" dt="2021-05-26T03:47:23.323" v="6905" actId="20577"/>
        <pc:sldMkLst>
          <pc:docMk/>
          <pc:sldMk cId="4076367213" sldId="2181"/>
        </pc:sldMkLst>
        <pc:spChg chg="mod">
          <ac:chgData name="Aurelien Domont" userId="6da7715ce44349b3" providerId="LiveId" clId="{FC254C3F-0DA2-4768-8E5C-80D9632154D7}" dt="2021-05-26T03:47:13.382" v="6901" actId="1035"/>
          <ac:spMkLst>
            <pc:docMk/>
            <pc:sldMk cId="4076367213" sldId="2181"/>
            <ac:spMk id="15" creationId="{D1D41F39-1E1F-402E-AD1F-A5FDB8A9FE95}"/>
          </ac:spMkLst>
        </pc:spChg>
        <pc:spChg chg="mod">
          <ac:chgData name="Aurelien Domont" userId="6da7715ce44349b3" providerId="LiveId" clId="{FC254C3F-0DA2-4768-8E5C-80D9632154D7}" dt="2021-05-26T03:47:23.323" v="6905" actId="20577"/>
          <ac:spMkLst>
            <pc:docMk/>
            <pc:sldMk cId="4076367213" sldId="2181"/>
            <ac:spMk id="16" creationId="{6C2BB713-9637-4B9B-938F-E9768876782A}"/>
          </ac:spMkLst>
        </pc:spChg>
      </pc:sldChg>
      <pc:sldChg chg="modSp add mod">
        <pc:chgData name="Aurelien Domont" userId="6da7715ce44349b3" providerId="LiveId" clId="{FC254C3F-0DA2-4768-8E5C-80D9632154D7}" dt="2021-05-26T03:48:30.244" v="6934" actId="1036"/>
        <pc:sldMkLst>
          <pc:docMk/>
          <pc:sldMk cId="3157585659" sldId="2182"/>
        </pc:sldMkLst>
        <pc:spChg chg="mod ord">
          <ac:chgData name="Aurelien Domont" userId="6da7715ce44349b3" providerId="LiveId" clId="{FC254C3F-0DA2-4768-8E5C-80D9632154D7}" dt="2021-05-26T03:48:30.244" v="6934" actId="1036"/>
          <ac:spMkLst>
            <pc:docMk/>
            <pc:sldMk cId="3157585659" sldId="2182"/>
            <ac:spMk id="15" creationId="{D1D41F39-1E1F-402E-AD1F-A5FDB8A9FE95}"/>
          </ac:spMkLst>
        </pc:spChg>
        <pc:spChg chg="mod">
          <ac:chgData name="Aurelien Domont" userId="6da7715ce44349b3" providerId="LiveId" clId="{FC254C3F-0DA2-4768-8E5C-80D9632154D7}" dt="2021-05-26T03:48:20.596" v="6915" actId="20577"/>
          <ac:spMkLst>
            <pc:docMk/>
            <pc:sldMk cId="3157585659" sldId="2182"/>
            <ac:spMk id="16" creationId="{6C2BB713-9637-4B9B-938F-E9768876782A}"/>
          </ac:spMkLst>
        </pc:spChg>
      </pc:sldChg>
    </pc:docChg>
  </pc:docChgLst>
  <pc:docChgLst>
    <pc:chgData name="Aurelien Domont" userId="6da7715ce44349b3" providerId="LiveId" clId="{2595DC28-D348-47AC-895E-C7EE4570EFF8}"/>
    <pc:docChg chg="custSel addSld modSld">
      <pc:chgData name="Aurelien Domont" userId="6da7715ce44349b3" providerId="LiveId" clId="{2595DC28-D348-47AC-895E-C7EE4570EFF8}" dt="2021-05-26T03:50:55.092" v="62" actId="20577"/>
      <pc:docMkLst>
        <pc:docMk/>
      </pc:docMkLst>
      <pc:sldChg chg="modSp mod">
        <pc:chgData name="Aurelien Domont" userId="6da7715ce44349b3" providerId="LiveId" clId="{2595DC28-D348-47AC-895E-C7EE4570EFF8}" dt="2021-05-26T03:49:27.112" v="4" actId="20577"/>
        <pc:sldMkLst>
          <pc:docMk/>
          <pc:sldMk cId="3131901387" sldId="256"/>
        </pc:sldMkLst>
        <pc:spChg chg="mod">
          <ac:chgData name="Aurelien Domont" userId="6da7715ce44349b3" providerId="LiveId" clId="{2595DC28-D348-47AC-895E-C7EE4570EFF8}" dt="2021-05-26T03:49:27.112" v="4" actId="20577"/>
          <ac:spMkLst>
            <pc:docMk/>
            <pc:sldMk cId="3131901387" sldId="256"/>
            <ac:spMk id="8" creationId="{BF61102C-BCA7-4CBF-AA08-2A8190D41E84}"/>
          </ac:spMkLst>
        </pc:spChg>
      </pc:sldChg>
      <pc:sldChg chg="delSp modSp mod">
        <pc:chgData name="Aurelien Domont" userId="6da7715ce44349b3" providerId="LiveId" clId="{2595DC28-D348-47AC-895E-C7EE4570EFF8}" dt="2021-05-26T03:50:16.368" v="36" actId="478"/>
        <pc:sldMkLst>
          <pc:docMk/>
          <pc:sldMk cId="1454614553" sldId="2150"/>
        </pc:sldMkLst>
        <pc:spChg chg="del">
          <ac:chgData name="Aurelien Domont" userId="6da7715ce44349b3" providerId="LiveId" clId="{2595DC28-D348-47AC-895E-C7EE4570EFF8}" dt="2021-05-26T03:50:16.368" v="36" actId="478"/>
          <ac:spMkLst>
            <pc:docMk/>
            <pc:sldMk cId="1454614553" sldId="2150"/>
            <ac:spMk id="14" creationId="{36A26ACC-668A-45EB-AB81-A5D2319F44E0}"/>
          </ac:spMkLst>
        </pc:spChg>
        <pc:spChg chg="mod">
          <ac:chgData name="Aurelien Domont" userId="6da7715ce44349b3" providerId="LiveId" clId="{2595DC28-D348-47AC-895E-C7EE4570EFF8}" dt="2021-05-26T03:50:11.382" v="35" actId="20577"/>
          <ac:spMkLst>
            <pc:docMk/>
            <pc:sldMk cId="1454614553" sldId="2150"/>
            <ac:spMk id="16" creationId="{6C2BB713-9637-4B9B-938F-E9768876782A}"/>
          </ac:spMkLst>
        </pc:spChg>
        <pc:spChg chg="del">
          <ac:chgData name="Aurelien Domont" userId="6da7715ce44349b3" providerId="LiveId" clId="{2595DC28-D348-47AC-895E-C7EE4570EFF8}" dt="2021-05-26T03:50:16.368" v="36" actId="478"/>
          <ac:spMkLst>
            <pc:docMk/>
            <pc:sldMk cId="1454614553" sldId="2150"/>
            <ac:spMk id="18" creationId="{9A832821-28E7-48AC-A8A2-089BEA8CDC39}"/>
          </ac:spMkLst>
        </pc:spChg>
        <pc:spChg chg="del">
          <ac:chgData name="Aurelien Domont" userId="6da7715ce44349b3" providerId="LiveId" clId="{2595DC28-D348-47AC-895E-C7EE4570EFF8}" dt="2021-05-26T03:50:16.368" v="36" actId="478"/>
          <ac:spMkLst>
            <pc:docMk/>
            <pc:sldMk cId="1454614553" sldId="2150"/>
            <ac:spMk id="19" creationId="{F6B03F74-2EBD-489D-B3D9-985345DDBB2F}"/>
          </ac:spMkLst>
        </pc:spChg>
        <pc:spChg chg="del">
          <ac:chgData name="Aurelien Domont" userId="6da7715ce44349b3" providerId="LiveId" clId="{2595DC28-D348-47AC-895E-C7EE4570EFF8}" dt="2021-05-26T03:50:16.368" v="36" actId="478"/>
          <ac:spMkLst>
            <pc:docMk/>
            <pc:sldMk cId="1454614553" sldId="2150"/>
            <ac:spMk id="26" creationId="{C340F2EE-BA16-482F-BFE4-F0465F9C2085}"/>
          </ac:spMkLst>
        </pc:spChg>
        <pc:spChg chg="del">
          <ac:chgData name="Aurelien Domont" userId="6da7715ce44349b3" providerId="LiveId" clId="{2595DC28-D348-47AC-895E-C7EE4570EFF8}" dt="2021-05-26T03:50:16.368" v="36" actId="478"/>
          <ac:spMkLst>
            <pc:docMk/>
            <pc:sldMk cId="1454614553" sldId="2150"/>
            <ac:spMk id="27" creationId="{BE7FA4F0-3C49-4DE0-BDCC-49225B7F31CF}"/>
          </ac:spMkLst>
        </pc:spChg>
        <pc:spChg chg="del">
          <ac:chgData name="Aurelien Domont" userId="6da7715ce44349b3" providerId="LiveId" clId="{2595DC28-D348-47AC-895E-C7EE4570EFF8}" dt="2021-05-26T03:50:16.368" v="36" actId="478"/>
          <ac:spMkLst>
            <pc:docMk/>
            <pc:sldMk cId="1454614553" sldId="2150"/>
            <ac:spMk id="29" creationId="{EBEF7E50-77EE-4FFC-9C8F-5F1C532B51AE}"/>
          </ac:spMkLst>
        </pc:spChg>
        <pc:cxnChg chg="del">
          <ac:chgData name="Aurelien Domont" userId="6da7715ce44349b3" providerId="LiveId" clId="{2595DC28-D348-47AC-895E-C7EE4570EFF8}" dt="2021-05-26T03:50:16.368" v="36" actId="478"/>
          <ac:cxnSpMkLst>
            <pc:docMk/>
            <pc:sldMk cId="1454614553" sldId="2150"/>
            <ac:cxnSpMk id="23" creationId="{9524914C-01E2-4876-AA5F-45B90B2C700C}"/>
          </ac:cxnSpMkLst>
        </pc:cxnChg>
        <pc:cxnChg chg="del">
          <ac:chgData name="Aurelien Domont" userId="6da7715ce44349b3" providerId="LiveId" clId="{2595DC28-D348-47AC-895E-C7EE4570EFF8}" dt="2021-05-26T03:50:16.368" v="36" actId="478"/>
          <ac:cxnSpMkLst>
            <pc:docMk/>
            <pc:sldMk cId="1454614553" sldId="2150"/>
            <ac:cxnSpMk id="30" creationId="{9E0C0224-1FC0-455B-98BE-E51330CE79E6}"/>
          </ac:cxnSpMkLst>
        </pc:cxnChg>
      </pc:sldChg>
      <pc:sldChg chg="add">
        <pc:chgData name="Aurelien Domont" userId="6da7715ce44349b3" providerId="LiveId" clId="{2595DC28-D348-47AC-895E-C7EE4570EFF8}" dt="2021-05-26T03:50:00.343" v="5"/>
        <pc:sldMkLst>
          <pc:docMk/>
          <pc:sldMk cId="1110778063" sldId="2183"/>
        </pc:sldMkLst>
      </pc:sldChg>
      <pc:sldChg chg="modSp new mod">
        <pc:chgData name="Aurelien Domont" userId="6da7715ce44349b3" providerId="LiveId" clId="{2595DC28-D348-47AC-895E-C7EE4570EFF8}" dt="2021-05-26T03:50:55.092" v="62" actId="20577"/>
        <pc:sldMkLst>
          <pc:docMk/>
          <pc:sldMk cId="4292960502" sldId="2184"/>
        </pc:sldMkLst>
        <pc:spChg chg="mod">
          <ac:chgData name="Aurelien Domont" userId="6da7715ce44349b3" providerId="LiveId" clId="{2595DC28-D348-47AC-895E-C7EE4570EFF8}" dt="2021-05-26T03:50:42.461" v="38"/>
          <ac:spMkLst>
            <pc:docMk/>
            <pc:sldMk cId="4292960502" sldId="2184"/>
            <ac:spMk id="2" creationId="{63F277BE-B192-4EBA-977A-D3854CBCD4C8}"/>
          </ac:spMkLst>
        </pc:spChg>
        <pc:spChg chg="mod">
          <ac:chgData name="Aurelien Domont" userId="6da7715ce44349b3" providerId="LiveId" clId="{2595DC28-D348-47AC-895E-C7EE4570EFF8}" dt="2021-05-26T03:50:55.092" v="62" actId="20577"/>
          <ac:spMkLst>
            <pc:docMk/>
            <pc:sldMk cId="4292960502" sldId="2184"/>
            <ac:spMk id="3" creationId="{6BE1B6B4-87AF-4A0F-9A81-38B388B86D24}"/>
          </ac:spMkLst>
        </pc:spChg>
      </pc:sldChg>
    </pc:docChg>
  </pc:docChgLst>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7E9DDE9D-BE14-4F2F-B530-3883D1E41781}"/>
    <pc:docChg chg="undo custSel addSld delSld modSld sldOrd">
      <pc:chgData name="Aurelien Domont" userId="6da7715ce44349b3" providerId="LiveId" clId="{7E9DDE9D-BE14-4F2F-B530-3883D1E41781}" dt="2021-05-27T02:14:30.389" v="2348"/>
      <pc:docMkLst>
        <pc:docMk/>
      </pc:docMkLst>
      <pc:sldChg chg="addSp delSp modSp mod">
        <pc:chgData name="Aurelien Domont" userId="6da7715ce44349b3" providerId="LiveId" clId="{7E9DDE9D-BE14-4F2F-B530-3883D1E41781}" dt="2021-05-26T08:06:08.038" v="2334"/>
        <pc:sldMkLst>
          <pc:docMk/>
          <pc:sldMk cId="3131901387" sldId="256"/>
        </pc:sldMkLst>
        <pc:spChg chg="mod">
          <ac:chgData name="Aurelien Domont" userId="6da7715ce44349b3" providerId="LiveId" clId="{7E9DDE9D-BE14-4F2F-B530-3883D1E41781}" dt="2021-05-26T06:08:42.625" v="17" actId="20577"/>
          <ac:spMkLst>
            <pc:docMk/>
            <pc:sldMk cId="3131901387" sldId="256"/>
            <ac:spMk id="2" creationId="{5261080C-C60C-4746-B6B1-A9A4FFA86785}"/>
          </ac:spMkLst>
        </pc:spChg>
        <pc:spChg chg="del">
          <ac:chgData name="Aurelien Domont" userId="6da7715ce44349b3" providerId="LiveId" clId="{7E9DDE9D-BE14-4F2F-B530-3883D1E41781}" dt="2021-05-26T08:06:04.984" v="2330" actId="478"/>
          <ac:spMkLst>
            <pc:docMk/>
            <pc:sldMk cId="3131901387" sldId="256"/>
            <ac:spMk id="3" creationId="{D781CD62-85AB-400E-A66C-9594AAD807B4}"/>
          </ac:spMkLst>
        </pc:spChg>
        <pc:spChg chg="add del mod">
          <ac:chgData name="Aurelien Domont" userId="6da7715ce44349b3" providerId="LiveId" clId="{7E9DDE9D-BE14-4F2F-B530-3883D1E41781}" dt="2021-05-26T08:06:07.708" v="2333" actId="478"/>
          <ac:spMkLst>
            <pc:docMk/>
            <pc:sldMk cId="3131901387" sldId="256"/>
            <ac:spMk id="13" creationId="{0BDFDDAA-69C7-4481-8357-D1062074BC76}"/>
          </ac:spMkLst>
        </pc:spChg>
        <pc:spChg chg="add del mod">
          <ac:chgData name="Aurelien Domont" userId="6da7715ce44349b3" providerId="LiveId" clId="{7E9DDE9D-BE14-4F2F-B530-3883D1E41781}" dt="2021-05-26T08:06:06.126" v="2332"/>
          <ac:spMkLst>
            <pc:docMk/>
            <pc:sldMk cId="3131901387" sldId="256"/>
            <ac:spMk id="15" creationId="{10A593B6-B1F6-42ED-950F-529A6107343A}"/>
          </ac:spMkLst>
        </pc:spChg>
        <pc:spChg chg="add mod">
          <ac:chgData name="Aurelien Domont" userId="6da7715ce44349b3" providerId="LiveId" clId="{7E9DDE9D-BE14-4F2F-B530-3883D1E41781}" dt="2021-05-26T08:06:08.038" v="2334"/>
          <ac:spMkLst>
            <pc:docMk/>
            <pc:sldMk cId="3131901387" sldId="256"/>
            <ac:spMk id="16" creationId="{352AA2C5-ED37-41BC-87C5-9CE052D30874}"/>
          </ac:spMkLst>
        </pc:spChg>
        <pc:picChg chg="del">
          <ac:chgData name="Aurelien Domont" userId="6da7715ce44349b3" providerId="LiveId" clId="{7E9DDE9D-BE14-4F2F-B530-3883D1E41781}" dt="2021-05-26T08:06:04.984" v="2330" actId="478"/>
          <ac:picMkLst>
            <pc:docMk/>
            <pc:sldMk cId="3131901387" sldId="256"/>
            <ac:picMk id="14" creationId="{2383877E-1EA1-4685-809A-0E7CCC5CBDD3}"/>
          </ac:picMkLst>
        </pc:picChg>
      </pc:sldChg>
      <pc:sldChg chg="addSp modSp add mod">
        <pc:chgData name="Aurelien Domont" userId="6da7715ce44349b3" providerId="LiveId" clId="{7E9DDE9D-BE14-4F2F-B530-3883D1E41781}" dt="2021-05-26T07:14:15.535" v="1355"/>
        <pc:sldMkLst>
          <pc:docMk/>
          <pc:sldMk cId="1447772011" sldId="1236"/>
        </pc:sldMkLst>
        <pc:spChg chg="add mod">
          <ac:chgData name="Aurelien Domont" userId="6da7715ce44349b3" providerId="LiveId" clId="{7E9DDE9D-BE14-4F2F-B530-3883D1E41781}" dt="2021-05-26T06:18:35.728" v="191" actId="207"/>
          <ac:spMkLst>
            <pc:docMk/>
            <pc:sldMk cId="1447772011" sldId="1236"/>
            <ac:spMk id="9" creationId="{B769D6F6-AFD9-4EA9-B80A-33F28CA11BE0}"/>
          </ac:spMkLst>
        </pc:spChg>
        <pc:spChg chg="add mod">
          <ac:chgData name="Aurelien Domont" userId="6da7715ce44349b3" providerId="LiveId" clId="{7E9DDE9D-BE14-4F2F-B530-3883D1E41781}" dt="2021-05-26T06:18:40.398" v="192" actId="408"/>
          <ac:spMkLst>
            <pc:docMk/>
            <pc:sldMk cId="1447772011" sldId="1236"/>
            <ac:spMk id="10" creationId="{5B7FFB86-AF8B-42F2-8248-7F825E9729B5}"/>
          </ac:spMkLst>
        </pc:spChg>
        <pc:spChg chg="add mod">
          <ac:chgData name="Aurelien Domont" userId="6da7715ce44349b3" providerId="LiveId" clId="{7E9DDE9D-BE14-4F2F-B530-3883D1E41781}" dt="2021-05-26T06:18:40.398" v="192" actId="408"/>
          <ac:spMkLst>
            <pc:docMk/>
            <pc:sldMk cId="1447772011" sldId="1236"/>
            <ac:spMk id="11" creationId="{9BCB142E-72D8-4305-9096-885998A95FB3}"/>
          </ac:spMkLst>
        </pc:spChg>
        <pc:spChg chg="add mod">
          <ac:chgData name="Aurelien Domont" userId="6da7715ce44349b3" providerId="LiveId" clId="{7E9DDE9D-BE14-4F2F-B530-3883D1E41781}" dt="2021-05-26T06:18:40.398" v="192" actId="408"/>
          <ac:spMkLst>
            <pc:docMk/>
            <pc:sldMk cId="1447772011" sldId="1236"/>
            <ac:spMk id="12" creationId="{9A65ADC9-0635-434B-9829-EA26E50BCCAC}"/>
          </ac:spMkLst>
        </pc:spChg>
        <pc:spChg chg="add mod">
          <ac:chgData name="Aurelien Domont" userId="6da7715ce44349b3" providerId="LiveId" clId="{7E9DDE9D-BE14-4F2F-B530-3883D1E41781}" dt="2021-05-26T06:18:35.728" v="191" actId="207"/>
          <ac:spMkLst>
            <pc:docMk/>
            <pc:sldMk cId="1447772011" sldId="1236"/>
            <ac:spMk id="14" creationId="{01AF693B-D65B-427E-AB73-775C9CA6F9F8}"/>
          </ac:spMkLst>
        </pc:spChg>
        <pc:spChg chg="add mod">
          <ac:chgData name="Aurelien Domont" userId="6da7715ce44349b3" providerId="LiveId" clId="{7E9DDE9D-BE14-4F2F-B530-3883D1E41781}" dt="2021-05-26T07:14:15.535" v="1355"/>
          <ac:spMkLst>
            <pc:docMk/>
            <pc:sldMk cId="1447772011" sldId="1236"/>
            <ac:spMk id="15" creationId="{2D08AC70-7C38-4A52-8BBA-ABC21952964B}"/>
          </ac:spMkLst>
        </pc:spChg>
        <pc:spChg chg="mod">
          <ac:chgData name="Aurelien Domont" userId="6da7715ce44349b3" providerId="LiveId" clId="{7E9DDE9D-BE14-4F2F-B530-3883D1E41781}" dt="2021-05-26T06:17:42.735" v="168" actId="20577"/>
          <ac:spMkLst>
            <pc:docMk/>
            <pc:sldMk cId="1447772011" sldId="1236"/>
            <ac:spMk id="16" creationId="{6C2BB713-9637-4B9B-938F-E9768876782A}"/>
          </ac:spMkLst>
        </pc:spChg>
        <pc:spChg chg="mod">
          <ac:chgData name="Aurelien Domont" userId="6da7715ce44349b3" providerId="LiveId" clId="{7E9DDE9D-BE14-4F2F-B530-3883D1E41781}" dt="2021-05-26T06:17:47.552" v="169" actId="14100"/>
          <ac:spMkLst>
            <pc:docMk/>
            <pc:sldMk cId="1447772011" sldId="1236"/>
            <ac:spMk id="18" creationId="{6690B5F9-90B9-4DDB-8F95-51D207BE3335}"/>
          </ac:spMkLst>
        </pc:spChg>
        <pc:spChg chg="mod">
          <ac:chgData name="Aurelien Domont" userId="6da7715ce44349b3" providerId="LiveId" clId="{7E9DDE9D-BE14-4F2F-B530-3883D1E41781}" dt="2021-05-26T06:17:47.552" v="169" actId="14100"/>
          <ac:spMkLst>
            <pc:docMk/>
            <pc:sldMk cId="1447772011" sldId="1236"/>
            <ac:spMk id="22" creationId="{CC39D5EE-40EF-4CFB-9505-D1EFF3AF3535}"/>
          </ac:spMkLst>
        </pc:spChg>
      </pc:sldChg>
      <pc:sldChg chg="del">
        <pc:chgData name="Aurelien Domont" userId="6da7715ce44349b3" providerId="LiveId" clId="{7E9DDE9D-BE14-4F2F-B530-3883D1E41781}" dt="2021-05-26T07:08:08.491" v="1241" actId="47"/>
        <pc:sldMkLst>
          <pc:docMk/>
          <pc:sldMk cId="2990524837" sldId="1486"/>
        </pc:sldMkLst>
      </pc:sldChg>
      <pc:sldChg chg="del">
        <pc:chgData name="Aurelien Domont" userId="6da7715ce44349b3" providerId="LiveId" clId="{7E9DDE9D-BE14-4F2F-B530-3883D1E41781}" dt="2021-05-26T07:08:08.491" v="1241" actId="47"/>
        <pc:sldMkLst>
          <pc:docMk/>
          <pc:sldMk cId="926313830" sldId="1489"/>
        </pc:sldMkLst>
      </pc:sldChg>
      <pc:sldChg chg="del">
        <pc:chgData name="Aurelien Domont" userId="6da7715ce44349b3" providerId="LiveId" clId="{7E9DDE9D-BE14-4F2F-B530-3883D1E41781}" dt="2021-05-26T07:08:08.491" v="1241" actId="47"/>
        <pc:sldMkLst>
          <pc:docMk/>
          <pc:sldMk cId="3370215172" sldId="1490"/>
        </pc:sldMkLst>
      </pc:sldChg>
      <pc:sldChg chg="addSp modSp add mod">
        <pc:chgData name="Aurelien Domont" userId="6da7715ce44349b3" providerId="LiveId" clId="{7E9DDE9D-BE14-4F2F-B530-3883D1E41781}" dt="2021-05-26T07:19:20.469" v="1357" actId="1036"/>
        <pc:sldMkLst>
          <pc:docMk/>
          <pc:sldMk cId="388158782" sldId="1514"/>
        </pc:sldMkLst>
        <pc:spChg chg="add mod">
          <ac:chgData name="Aurelien Domont" userId="6da7715ce44349b3" providerId="LiveId" clId="{7E9DDE9D-BE14-4F2F-B530-3883D1E41781}" dt="2021-05-26T07:19:20.469" v="1357" actId="1036"/>
          <ac:spMkLst>
            <pc:docMk/>
            <pc:sldMk cId="388158782" sldId="1514"/>
            <ac:spMk id="43" creationId="{1505ECAE-2A5E-4DAE-94DC-1FA3A42A3964}"/>
          </ac:spMkLst>
        </pc:spChg>
      </pc:sldChg>
      <pc:sldChg chg="addSp modSp add">
        <pc:chgData name="Aurelien Domont" userId="6da7715ce44349b3" providerId="LiveId" clId="{7E9DDE9D-BE14-4F2F-B530-3883D1E41781}" dt="2021-05-26T07:29:21.588" v="1385"/>
        <pc:sldMkLst>
          <pc:docMk/>
          <pc:sldMk cId="2357951321" sldId="1519"/>
        </pc:sldMkLst>
        <pc:spChg chg="add mod">
          <ac:chgData name="Aurelien Domont" userId="6da7715ce44349b3" providerId="LiveId" clId="{7E9DDE9D-BE14-4F2F-B530-3883D1E41781}" dt="2021-05-26T07:29:21.588" v="1385"/>
          <ac:spMkLst>
            <pc:docMk/>
            <pc:sldMk cId="2357951321" sldId="1519"/>
            <ac:spMk id="22" creationId="{992D62DE-B9F7-4A61-8A12-ED0AF7AA6D5B}"/>
          </ac:spMkLst>
        </pc:spChg>
      </pc:sldChg>
      <pc:sldChg chg="add">
        <pc:chgData name="Aurelien Domont" userId="6da7715ce44349b3" providerId="LiveId" clId="{7E9DDE9D-BE14-4F2F-B530-3883D1E41781}" dt="2021-05-26T07:14:34.470" v="1356"/>
        <pc:sldMkLst>
          <pc:docMk/>
          <pc:sldMk cId="112122695" sldId="1521"/>
        </pc:sldMkLst>
      </pc:sldChg>
      <pc:sldChg chg="add">
        <pc:chgData name="Aurelien Domont" userId="6da7715ce44349b3" providerId="LiveId" clId="{7E9DDE9D-BE14-4F2F-B530-3883D1E41781}" dt="2021-05-26T07:14:34.470" v="1356"/>
        <pc:sldMkLst>
          <pc:docMk/>
          <pc:sldMk cId="204042741" sldId="1522"/>
        </pc:sldMkLst>
      </pc:sldChg>
      <pc:sldChg chg="add">
        <pc:chgData name="Aurelien Domont" userId="6da7715ce44349b3" providerId="LiveId" clId="{7E9DDE9D-BE14-4F2F-B530-3883D1E41781}" dt="2021-05-26T07:14:34.470" v="1356"/>
        <pc:sldMkLst>
          <pc:docMk/>
          <pc:sldMk cId="3770712690" sldId="1523"/>
        </pc:sldMkLst>
      </pc:sldChg>
      <pc:sldChg chg="add">
        <pc:chgData name="Aurelien Domont" userId="6da7715ce44349b3" providerId="LiveId" clId="{7E9DDE9D-BE14-4F2F-B530-3883D1E41781}" dt="2021-05-26T07:14:34.470" v="1356"/>
        <pc:sldMkLst>
          <pc:docMk/>
          <pc:sldMk cId="3952879389" sldId="1524"/>
        </pc:sldMkLst>
      </pc:sldChg>
      <pc:sldChg chg="addSp modSp add">
        <pc:chgData name="Aurelien Domont" userId="6da7715ce44349b3" providerId="LiveId" clId="{7E9DDE9D-BE14-4F2F-B530-3883D1E41781}" dt="2021-05-26T07:20:02.560" v="1358"/>
        <pc:sldMkLst>
          <pc:docMk/>
          <pc:sldMk cId="1466047855" sldId="1525"/>
        </pc:sldMkLst>
        <pc:spChg chg="add mod">
          <ac:chgData name="Aurelien Domont" userId="6da7715ce44349b3" providerId="LiveId" clId="{7E9DDE9D-BE14-4F2F-B530-3883D1E41781}" dt="2021-05-26T07:20:02.560" v="1358"/>
          <ac:spMkLst>
            <pc:docMk/>
            <pc:sldMk cId="1466047855" sldId="1525"/>
            <ac:spMk id="41" creationId="{21B20F6E-CCF0-420D-94D7-1DE1CE8B857E}"/>
          </ac:spMkLst>
        </pc:spChg>
      </pc:sldChg>
      <pc:sldChg chg="add">
        <pc:chgData name="Aurelien Domont" userId="6da7715ce44349b3" providerId="LiveId" clId="{7E9DDE9D-BE14-4F2F-B530-3883D1E41781}" dt="2021-05-26T07:21:00.556" v="1364"/>
        <pc:sldMkLst>
          <pc:docMk/>
          <pc:sldMk cId="3014473461" sldId="1527"/>
        </pc:sldMkLst>
      </pc:sldChg>
      <pc:sldChg chg="add">
        <pc:chgData name="Aurelien Domont" userId="6da7715ce44349b3" providerId="LiveId" clId="{7E9DDE9D-BE14-4F2F-B530-3883D1E41781}" dt="2021-05-26T07:21:00.556" v="1364"/>
        <pc:sldMkLst>
          <pc:docMk/>
          <pc:sldMk cId="2721843527" sldId="1528"/>
        </pc:sldMkLst>
      </pc:sldChg>
      <pc:sldChg chg="add">
        <pc:chgData name="Aurelien Domont" userId="6da7715ce44349b3" providerId="LiveId" clId="{7E9DDE9D-BE14-4F2F-B530-3883D1E41781}" dt="2021-05-26T07:21:00.556" v="1364"/>
        <pc:sldMkLst>
          <pc:docMk/>
          <pc:sldMk cId="265478975" sldId="1529"/>
        </pc:sldMkLst>
      </pc:sldChg>
      <pc:sldChg chg="add">
        <pc:chgData name="Aurelien Domont" userId="6da7715ce44349b3" providerId="LiveId" clId="{7E9DDE9D-BE14-4F2F-B530-3883D1E41781}" dt="2021-05-26T07:21:00.556" v="1364"/>
        <pc:sldMkLst>
          <pc:docMk/>
          <pc:sldMk cId="4130717619" sldId="1530"/>
        </pc:sldMkLst>
      </pc:sldChg>
      <pc:sldChg chg="add">
        <pc:chgData name="Aurelien Domont" userId="6da7715ce44349b3" providerId="LiveId" clId="{7E9DDE9D-BE14-4F2F-B530-3883D1E41781}" dt="2021-05-26T07:21:00.556" v="1364"/>
        <pc:sldMkLst>
          <pc:docMk/>
          <pc:sldMk cId="2993258290" sldId="1531"/>
        </pc:sldMkLst>
      </pc:sldChg>
      <pc:sldChg chg="add">
        <pc:chgData name="Aurelien Domont" userId="6da7715ce44349b3" providerId="LiveId" clId="{7E9DDE9D-BE14-4F2F-B530-3883D1E41781}" dt="2021-05-26T07:21:00.556" v="1364"/>
        <pc:sldMkLst>
          <pc:docMk/>
          <pc:sldMk cId="3685180437" sldId="1532"/>
        </pc:sldMkLst>
      </pc:sldChg>
      <pc:sldChg chg="add">
        <pc:chgData name="Aurelien Domont" userId="6da7715ce44349b3" providerId="LiveId" clId="{7E9DDE9D-BE14-4F2F-B530-3883D1E41781}" dt="2021-05-26T07:21:00.556" v="1364"/>
        <pc:sldMkLst>
          <pc:docMk/>
          <pc:sldMk cId="1793073278" sldId="1533"/>
        </pc:sldMkLst>
      </pc:sldChg>
      <pc:sldChg chg="add">
        <pc:chgData name="Aurelien Domont" userId="6da7715ce44349b3" providerId="LiveId" clId="{7E9DDE9D-BE14-4F2F-B530-3883D1E41781}" dt="2021-05-26T07:21:00.556" v="1364"/>
        <pc:sldMkLst>
          <pc:docMk/>
          <pc:sldMk cId="2590906409" sldId="1534"/>
        </pc:sldMkLst>
      </pc:sldChg>
      <pc:sldChg chg="add">
        <pc:chgData name="Aurelien Domont" userId="6da7715ce44349b3" providerId="LiveId" clId="{7E9DDE9D-BE14-4F2F-B530-3883D1E41781}" dt="2021-05-26T07:21:00.556" v="1364"/>
        <pc:sldMkLst>
          <pc:docMk/>
          <pc:sldMk cId="2544789235" sldId="1535"/>
        </pc:sldMkLst>
      </pc:sldChg>
      <pc:sldChg chg="add">
        <pc:chgData name="Aurelien Domont" userId="6da7715ce44349b3" providerId="LiveId" clId="{7E9DDE9D-BE14-4F2F-B530-3883D1E41781}" dt="2021-05-26T07:21:00.556" v="1364"/>
        <pc:sldMkLst>
          <pc:docMk/>
          <pc:sldMk cId="2575741903" sldId="1536"/>
        </pc:sldMkLst>
      </pc:sldChg>
      <pc:sldChg chg="del">
        <pc:chgData name="Aurelien Domont" userId="6da7715ce44349b3" providerId="LiveId" clId="{7E9DDE9D-BE14-4F2F-B530-3883D1E41781}" dt="2021-05-26T07:08:08.491" v="1241" actId="47"/>
        <pc:sldMkLst>
          <pc:docMk/>
          <pc:sldMk cId="359603823" sldId="1539"/>
        </pc:sldMkLst>
      </pc:sldChg>
      <pc:sldChg chg="del">
        <pc:chgData name="Aurelien Domont" userId="6da7715ce44349b3" providerId="LiveId" clId="{7E9DDE9D-BE14-4F2F-B530-3883D1E41781}" dt="2021-05-26T07:08:08.491" v="1241" actId="47"/>
        <pc:sldMkLst>
          <pc:docMk/>
          <pc:sldMk cId="3822864552" sldId="1540"/>
        </pc:sldMkLst>
      </pc:sldChg>
      <pc:sldChg chg="del">
        <pc:chgData name="Aurelien Domont" userId="6da7715ce44349b3" providerId="LiveId" clId="{7E9DDE9D-BE14-4F2F-B530-3883D1E41781}" dt="2021-05-26T07:08:08.491" v="1241" actId="47"/>
        <pc:sldMkLst>
          <pc:docMk/>
          <pc:sldMk cId="396583763" sldId="1541"/>
        </pc:sldMkLst>
      </pc:sldChg>
      <pc:sldChg chg="del">
        <pc:chgData name="Aurelien Domont" userId="6da7715ce44349b3" providerId="LiveId" clId="{7E9DDE9D-BE14-4F2F-B530-3883D1E41781}" dt="2021-05-26T07:08:08.491" v="1241" actId="47"/>
        <pc:sldMkLst>
          <pc:docMk/>
          <pc:sldMk cId="248084048" sldId="1542"/>
        </pc:sldMkLst>
      </pc:sldChg>
      <pc:sldChg chg="del">
        <pc:chgData name="Aurelien Domont" userId="6da7715ce44349b3" providerId="LiveId" clId="{7E9DDE9D-BE14-4F2F-B530-3883D1E41781}" dt="2021-05-26T07:08:08.491" v="1241" actId="47"/>
        <pc:sldMkLst>
          <pc:docMk/>
          <pc:sldMk cId="1881042919" sldId="1543"/>
        </pc:sldMkLst>
      </pc:sldChg>
      <pc:sldChg chg="del">
        <pc:chgData name="Aurelien Domont" userId="6da7715ce44349b3" providerId="LiveId" clId="{7E9DDE9D-BE14-4F2F-B530-3883D1E41781}" dt="2021-05-26T07:08:08.491" v="1241" actId="47"/>
        <pc:sldMkLst>
          <pc:docMk/>
          <pc:sldMk cId="481203502" sldId="1544"/>
        </pc:sldMkLst>
      </pc:sldChg>
      <pc:sldChg chg="del">
        <pc:chgData name="Aurelien Domont" userId="6da7715ce44349b3" providerId="LiveId" clId="{7E9DDE9D-BE14-4F2F-B530-3883D1E41781}" dt="2021-05-26T07:08:08.491" v="1241" actId="47"/>
        <pc:sldMkLst>
          <pc:docMk/>
          <pc:sldMk cId="3474761269" sldId="1546"/>
        </pc:sldMkLst>
      </pc:sldChg>
      <pc:sldChg chg="del">
        <pc:chgData name="Aurelien Domont" userId="6da7715ce44349b3" providerId="LiveId" clId="{7E9DDE9D-BE14-4F2F-B530-3883D1E41781}" dt="2021-05-26T07:08:08.491" v="1241" actId="47"/>
        <pc:sldMkLst>
          <pc:docMk/>
          <pc:sldMk cId="4116996389" sldId="1548"/>
        </pc:sldMkLst>
      </pc:sldChg>
      <pc:sldChg chg="del">
        <pc:chgData name="Aurelien Domont" userId="6da7715ce44349b3" providerId="LiveId" clId="{7E9DDE9D-BE14-4F2F-B530-3883D1E41781}" dt="2021-05-26T07:08:08.491" v="1241" actId="47"/>
        <pc:sldMkLst>
          <pc:docMk/>
          <pc:sldMk cId="3289359821" sldId="1549"/>
        </pc:sldMkLst>
      </pc:sldChg>
      <pc:sldChg chg="del">
        <pc:chgData name="Aurelien Domont" userId="6da7715ce44349b3" providerId="LiveId" clId="{7E9DDE9D-BE14-4F2F-B530-3883D1E41781}" dt="2021-05-26T07:08:08.491" v="1241" actId="47"/>
        <pc:sldMkLst>
          <pc:docMk/>
          <pc:sldMk cId="4238157380" sldId="1550"/>
        </pc:sldMkLst>
      </pc:sldChg>
      <pc:sldChg chg="del">
        <pc:chgData name="Aurelien Domont" userId="6da7715ce44349b3" providerId="LiveId" clId="{7E9DDE9D-BE14-4F2F-B530-3883D1E41781}" dt="2021-05-26T07:08:08.491" v="1241" actId="47"/>
        <pc:sldMkLst>
          <pc:docMk/>
          <pc:sldMk cId="747031334" sldId="1551"/>
        </pc:sldMkLst>
      </pc:sldChg>
      <pc:sldChg chg="del">
        <pc:chgData name="Aurelien Domont" userId="6da7715ce44349b3" providerId="LiveId" clId="{7E9DDE9D-BE14-4F2F-B530-3883D1E41781}" dt="2021-05-26T07:08:08.491" v="1241" actId="47"/>
        <pc:sldMkLst>
          <pc:docMk/>
          <pc:sldMk cId="729552457" sldId="1580"/>
        </pc:sldMkLst>
      </pc:sldChg>
      <pc:sldChg chg="del">
        <pc:chgData name="Aurelien Domont" userId="6da7715ce44349b3" providerId="LiveId" clId="{7E9DDE9D-BE14-4F2F-B530-3883D1E41781}" dt="2021-05-26T07:08:08.491" v="1241" actId="47"/>
        <pc:sldMkLst>
          <pc:docMk/>
          <pc:sldMk cId="541233884" sldId="1584"/>
        </pc:sldMkLst>
      </pc:sldChg>
      <pc:sldChg chg="del">
        <pc:chgData name="Aurelien Domont" userId="6da7715ce44349b3" providerId="LiveId" clId="{7E9DDE9D-BE14-4F2F-B530-3883D1E41781}" dt="2021-05-26T07:08:08.491" v="1241" actId="47"/>
        <pc:sldMkLst>
          <pc:docMk/>
          <pc:sldMk cId="1221562796" sldId="1585"/>
        </pc:sldMkLst>
      </pc:sldChg>
      <pc:sldChg chg="del">
        <pc:chgData name="Aurelien Domont" userId="6da7715ce44349b3" providerId="LiveId" clId="{7E9DDE9D-BE14-4F2F-B530-3883D1E41781}" dt="2021-05-26T07:08:08.491" v="1241" actId="47"/>
        <pc:sldMkLst>
          <pc:docMk/>
          <pc:sldMk cId="3333724202" sldId="1586"/>
        </pc:sldMkLst>
      </pc:sldChg>
      <pc:sldChg chg="del">
        <pc:chgData name="Aurelien Domont" userId="6da7715ce44349b3" providerId="LiveId" clId="{7E9DDE9D-BE14-4F2F-B530-3883D1E41781}" dt="2021-05-26T07:08:08.491" v="1241" actId="47"/>
        <pc:sldMkLst>
          <pc:docMk/>
          <pc:sldMk cId="2328040230" sldId="1587"/>
        </pc:sldMkLst>
      </pc:sldChg>
      <pc:sldChg chg="del">
        <pc:chgData name="Aurelien Domont" userId="6da7715ce44349b3" providerId="LiveId" clId="{7E9DDE9D-BE14-4F2F-B530-3883D1E41781}" dt="2021-05-26T07:08:08.491" v="1241" actId="47"/>
        <pc:sldMkLst>
          <pc:docMk/>
          <pc:sldMk cId="416223994" sldId="1588"/>
        </pc:sldMkLst>
      </pc:sldChg>
      <pc:sldChg chg="del">
        <pc:chgData name="Aurelien Domont" userId="6da7715ce44349b3" providerId="LiveId" clId="{7E9DDE9D-BE14-4F2F-B530-3883D1E41781}" dt="2021-05-26T07:08:08.491" v="1241" actId="47"/>
        <pc:sldMkLst>
          <pc:docMk/>
          <pc:sldMk cId="1962551731" sldId="1589"/>
        </pc:sldMkLst>
      </pc:sldChg>
      <pc:sldChg chg="del">
        <pc:chgData name="Aurelien Domont" userId="6da7715ce44349b3" providerId="LiveId" clId="{7E9DDE9D-BE14-4F2F-B530-3883D1E41781}" dt="2021-05-26T07:08:08.491" v="1241" actId="47"/>
        <pc:sldMkLst>
          <pc:docMk/>
          <pc:sldMk cId="178148872" sldId="1590"/>
        </pc:sldMkLst>
      </pc:sldChg>
      <pc:sldChg chg="del">
        <pc:chgData name="Aurelien Domont" userId="6da7715ce44349b3" providerId="LiveId" clId="{7E9DDE9D-BE14-4F2F-B530-3883D1E41781}" dt="2021-05-26T07:08:08.491" v="1241" actId="47"/>
        <pc:sldMkLst>
          <pc:docMk/>
          <pc:sldMk cId="2223111182" sldId="1591"/>
        </pc:sldMkLst>
      </pc:sldChg>
      <pc:sldChg chg="del">
        <pc:chgData name="Aurelien Domont" userId="6da7715ce44349b3" providerId="LiveId" clId="{7E9DDE9D-BE14-4F2F-B530-3883D1E41781}" dt="2021-05-26T07:08:08.491" v="1241" actId="47"/>
        <pc:sldMkLst>
          <pc:docMk/>
          <pc:sldMk cId="4210937184" sldId="1592"/>
        </pc:sldMkLst>
      </pc:sldChg>
      <pc:sldChg chg="add">
        <pc:chgData name="Aurelien Domont" userId="6da7715ce44349b3" providerId="LiveId" clId="{7E9DDE9D-BE14-4F2F-B530-3883D1E41781}" dt="2021-05-26T07:21:00.556" v="1364"/>
        <pc:sldMkLst>
          <pc:docMk/>
          <pc:sldMk cId="2356517374" sldId="1597"/>
        </pc:sldMkLst>
      </pc:sldChg>
      <pc:sldChg chg="add">
        <pc:chgData name="Aurelien Domont" userId="6da7715ce44349b3" providerId="LiveId" clId="{7E9DDE9D-BE14-4F2F-B530-3883D1E41781}" dt="2021-05-26T07:21:00.556" v="1364"/>
        <pc:sldMkLst>
          <pc:docMk/>
          <pc:sldMk cId="2815671749" sldId="1601"/>
        </pc:sldMkLst>
      </pc:sldChg>
      <pc:sldChg chg="add">
        <pc:chgData name="Aurelien Domont" userId="6da7715ce44349b3" providerId="LiveId" clId="{7E9DDE9D-BE14-4F2F-B530-3883D1E41781}" dt="2021-05-26T07:21:00.556" v="1364"/>
        <pc:sldMkLst>
          <pc:docMk/>
          <pc:sldMk cId="3921452590" sldId="1602"/>
        </pc:sldMkLst>
      </pc:sldChg>
      <pc:sldChg chg="addSp modSp add">
        <pc:chgData name="Aurelien Domont" userId="6da7715ce44349b3" providerId="LiveId" clId="{7E9DDE9D-BE14-4F2F-B530-3883D1E41781}" dt="2021-05-26T07:20:15.608" v="1359"/>
        <pc:sldMkLst>
          <pc:docMk/>
          <pc:sldMk cId="2854167876" sldId="1604"/>
        </pc:sldMkLst>
        <pc:spChg chg="add mod">
          <ac:chgData name="Aurelien Domont" userId="6da7715ce44349b3" providerId="LiveId" clId="{7E9DDE9D-BE14-4F2F-B530-3883D1E41781}" dt="2021-05-26T07:20:15.608" v="1359"/>
          <ac:spMkLst>
            <pc:docMk/>
            <pc:sldMk cId="2854167876" sldId="1604"/>
            <ac:spMk id="18" creationId="{C2327436-95BF-49AB-AE1D-B9A785078E1D}"/>
          </ac:spMkLst>
        </pc:spChg>
      </pc:sldChg>
      <pc:sldChg chg="addSp modSp add">
        <pc:chgData name="Aurelien Domont" userId="6da7715ce44349b3" providerId="LiveId" clId="{7E9DDE9D-BE14-4F2F-B530-3883D1E41781}" dt="2021-05-26T07:30:51.911" v="1402"/>
        <pc:sldMkLst>
          <pc:docMk/>
          <pc:sldMk cId="3097511976" sldId="1606"/>
        </pc:sldMkLst>
        <pc:spChg chg="add mod">
          <ac:chgData name="Aurelien Domont" userId="6da7715ce44349b3" providerId="LiveId" clId="{7E9DDE9D-BE14-4F2F-B530-3883D1E41781}" dt="2021-05-26T07:30:51.911" v="1402"/>
          <ac:spMkLst>
            <pc:docMk/>
            <pc:sldMk cId="3097511976" sldId="1606"/>
            <ac:spMk id="51" creationId="{BFD6A17B-3C22-4C38-90A2-C54A973EDE69}"/>
          </ac:spMkLst>
        </pc:spChg>
      </pc:sldChg>
      <pc:sldChg chg="add">
        <pc:chgData name="Aurelien Domont" userId="6da7715ce44349b3" providerId="LiveId" clId="{7E9DDE9D-BE14-4F2F-B530-3883D1E41781}" dt="2021-05-26T07:29:35.070" v="1386"/>
        <pc:sldMkLst>
          <pc:docMk/>
          <pc:sldMk cId="203125793" sldId="1608"/>
        </pc:sldMkLst>
      </pc:sldChg>
      <pc:sldChg chg="add">
        <pc:chgData name="Aurelien Domont" userId="6da7715ce44349b3" providerId="LiveId" clId="{7E9DDE9D-BE14-4F2F-B530-3883D1E41781}" dt="2021-05-26T07:29:35.070" v="1386"/>
        <pc:sldMkLst>
          <pc:docMk/>
          <pc:sldMk cId="75080109" sldId="1609"/>
        </pc:sldMkLst>
      </pc:sldChg>
      <pc:sldChg chg="add">
        <pc:chgData name="Aurelien Domont" userId="6da7715ce44349b3" providerId="LiveId" clId="{7E9DDE9D-BE14-4F2F-B530-3883D1E41781}" dt="2021-05-26T07:29:35.070" v="1386"/>
        <pc:sldMkLst>
          <pc:docMk/>
          <pc:sldMk cId="221549742" sldId="1610"/>
        </pc:sldMkLst>
      </pc:sldChg>
      <pc:sldChg chg="add">
        <pc:chgData name="Aurelien Domont" userId="6da7715ce44349b3" providerId="LiveId" clId="{7E9DDE9D-BE14-4F2F-B530-3883D1E41781}" dt="2021-05-26T07:29:35.070" v="1386"/>
        <pc:sldMkLst>
          <pc:docMk/>
          <pc:sldMk cId="1430086869" sldId="1611"/>
        </pc:sldMkLst>
      </pc:sldChg>
      <pc:sldChg chg="add">
        <pc:chgData name="Aurelien Domont" userId="6da7715ce44349b3" providerId="LiveId" clId="{7E9DDE9D-BE14-4F2F-B530-3883D1E41781}" dt="2021-05-26T07:29:35.070" v="1386"/>
        <pc:sldMkLst>
          <pc:docMk/>
          <pc:sldMk cId="826694542" sldId="1612"/>
        </pc:sldMkLst>
      </pc:sldChg>
      <pc:sldChg chg="add">
        <pc:chgData name="Aurelien Domont" userId="6da7715ce44349b3" providerId="LiveId" clId="{7E9DDE9D-BE14-4F2F-B530-3883D1E41781}" dt="2021-05-26T06:16:32.977" v="133"/>
        <pc:sldMkLst>
          <pc:docMk/>
          <pc:sldMk cId="3132995512" sldId="1616"/>
        </pc:sldMkLst>
      </pc:sldChg>
      <pc:sldChg chg="add">
        <pc:chgData name="Aurelien Domont" userId="6da7715ce44349b3" providerId="LiveId" clId="{7E9DDE9D-BE14-4F2F-B530-3883D1E41781}" dt="2021-05-26T06:16:32.977" v="133"/>
        <pc:sldMkLst>
          <pc:docMk/>
          <pc:sldMk cId="1033555564" sldId="1617"/>
        </pc:sldMkLst>
      </pc:sldChg>
      <pc:sldChg chg="addSp modSp add">
        <pc:chgData name="Aurelien Domont" userId="6da7715ce44349b3" providerId="LiveId" clId="{7E9DDE9D-BE14-4F2F-B530-3883D1E41781}" dt="2021-05-26T07:20:23.657" v="1360"/>
        <pc:sldMkLst>
          <pc:docMk/>
          <pc:sldMk cId="3934364823" sldId="1620"/>
        </pc:sldMkLst>
        <pc:spChg chg="add mod">
          <ac:chgData name="Aurelien Domont" userId="6da7715ce44349b3" providerId="LiveId" clId="{7E9DDE9D-BE14-4F2F-B530-3883D1E41781}" dt="2021-05-26T07:20:23.657" v="1360"/>
          <ac:spMkLst>
            <pc:docMk/>
            <pc:sldMk cId="3934364823" sldId="1620"/>
            <ac:spMk id="18" creationId="{4432D4E4-C954-4EE3-9C97-2B9FE964AFAB}"/>
          </ac:spMkLst>
        </pc:spChg>
      </pc:sldChg>
      <pc:sldChg chg="addSp modSp add">
        <pc:chgData name="Aurelien Domont" userId="6da7715ce44349b3" providerId="LiveId" clId="{7E9DDE9D-BE14-4F2F-B530-3883D1E41781}" dt="2021-05-26T07:20:25.085" v="1361"/>
        <pc:sldMkLst>
          <pc:docMk/>
          <pc:sldMk cId="2154860040" sldId="1621"/>
        </pc:sldMkLst>
        <pc:spChg chg="add mod">
          <ac:chgData name="Aurelien Domont" userId="6da7715ce44349b3" providerId="LiveId" clId="{7E9DDE9D-BE14-4F2F-B530-3883D1E41781}" dt="2021-05-26T07:20:25.085" v="1361"/>
          <ac:spMkLst>
            <pc:docMk/>
            <pc:sldMk cId="2154860040" sldId="1621"/>
            <ac:spMk id="18" creationId="{2D0329E7-3C0C-47A1-9D9F-1F6C067CAB02}"/>
          </ac:spMkLst>
        </pc:spChg>
      </pc:sldChg>
      <pc:sldChg chg="addSp modSp add">
        <pc:chgData name="Aurelien Domont" userId="6da7715ce44349b3" providerId="LiveId" clId="{7E9DDE9D-BE14-4F2F-B530-3883D1E41781}" dt="2021-05-26T07:20:26.297" v="1362"/>
        <pc:sldMkLst>
          <pc:docMk/>
          <pc:sldMk cId="2200018290" sldId="1622"/>
        </pc:sldMkLst>
        <pc:spChg chg="add mod">
          <ac:chgData name="Aurelien Domont" userId="6da7715ce44349b3" providerId="LiveId" clId="{7E9DDE9D-BE14-4F2F-B530-3883D1E41781}" dt="2021-05-26T07:20:26.297" v="1362"/>
          <ac:spMkLst>
            <pc:docMk/>
            <pc:sldMk cId="2200018290" sldId="1622"/>
            <ac:spMk id="18" creationId="{C9CD43A5-8B4D-41E9-A8CD-2B9ECADEC5A0}"/>
          </ac:spMkLst>
        </pc:spChg>
      </pc:sldChg>
      <pc:sldChg chg="addSp modSp add">
        <pc:chgData name="Aurelien Domont" userId="6da7715ce44349b3" providerId="LiveId" clId="{7E9DDE9D-BE14-4F2F-B530-3883D1E41781}" dt="2021-05-26T07:20:37.268" v="1363"/>
        <pc:sldMkLst>
          <pc:docMk/>
          <pc:sldMk cId="167851172" sldId="1623"/>
        </pc:sldMkLst>
        <pc:spChg chg="add mod">
          <ac:chgData name="Aurelien Domont" userId="6da7715ce44349b3" providerId="LiveId" clId="{7E9DDE9D-BE14-4F2F-B530-3883D1E41781}" dt="2021-05-26T07:20:37.268" v="1363"/>
          <ac:spMkLst>
            <pc:docMk/>
            <pc:sldMk cId="167851172" sldId="1623"/>
            <ac:spMk id="32" creationId="{6E95F7D4-52DC-49E8-85D4-A315F91D9772}"/>
          </ac:spMkLst>
        </pc:spChg>
        <pc:spChg chg="add mod">
          <ac:chgData name="Aurelien Domont" userId="6da7715ce44349b3" providerId="LiveId" clId="{7E9DDE9D-BE14-4F2F-B530-3883D1E41781}" dt="2021-05-26T07:20:37.268" v="1363"/>
          <ac:spMkLst>
            <pc:docMk/>
            <pc:sldMk cId="167851172" sldId="1623"/>
            <ac:spMk id="33" creationId="{B86AECCC-78D9-45E1-B7FC-1180B773C27A}"/>
          </ac:spMkLst>
        </pc:spChg>
      </pc:sldChg>
      <pc:sldChg chg="addSp modSp add del mod">
        <pc:chgData name="Aurelien Domont" userId="6da7715ce44349b3" providerId="LiveId" clId="{7E9DDE9D-BE14-4F2F-B530-3883D1E41781}" dt="2021-05-26T07:37:35.405" v="1433" actId="20577"/>
        <pc:sldMkLst>
          <pc:docMk/>
          <pc:sldMk cId="2168617119" sldId="1624"/>
        </pc:sldMkLst>
        <pc:spChg chg="mod">
          <ac:chgData name="Aurelien Domont" userId="6da7715ce44349b3" providerId="LiveId" clId="{7E9DDE9D-BE14-4F2F-B530-3883D1E41781}" dt="2021-05-26T07:37:35.405" v="1433" actId="20577"/>
          <ac:spMkLst>
            <pc:docMk/>
            <pc:sldMk cId="2168617119" sldId="1624"/>
            <ac:spMk id="16" creationId="{6C2BB713-9637-4B9B-938F-E9768876782A}"/>
          </ac:spMkLst>
        </pc:spChg>
        <pc:spChg chg="add mod">
          <ac:chgData name="Aurelien Domont" userId="6da7715ce44349b3" providerId="LiveId" clId="{7E9DDE9D-BE14-4F2F-B530-3883D1E41781}" dt="2021-05-26T07:35:59.392" v="1417"/>
          <ac:spMkLst>
            <pc:docMk/>
            <pc:sldMk cId="2168617119" sldId="1624"/>
            <ac:spMk id="18" creationId="{5F9D728F-02B0-4F50-802B-9A205F673098}"/>
          </ac:spMkLst>
        </pc:spChg>
      </pc:sldChg>
      <pc:sldChg chg="addSp modSp add del mod">
        <pc:chgData name="Aurelien Domont" userId="6da7715ce44349b3" providerId="LiveId" clId="{7E9DDE9D-BE14-4F2F-B530-3883D1E41781}" dt="2021-05-26T07:37:40.440" v="1434"/>
        <pc:sldMkLst>
          <pc:docMk/>
          <pc:sldMk cId="1413178546" sldId="1625"/>
        </pc:sldMkLst>
        <pc:spChg chg="mod">
          <ac:chgData name="Aurelien Domont" userId="6da7715ce44349b3" providerId="LiveId" clId="{7E9DDE9D-BE14-4F2F-B530-3883D1E41781}" dt="2021-05-26T07:37:40.440" v="1434"/>
          <ac:spMkLst>
            <pc:docMk/>
            <pc:sldMk cId="1413178546" sldId="1625"/>
            <ac:spMk id="16" creationId="{6C2BB713-9637-4B9B-938F-E9768876782A}"/>
          </ac:spMkLst>
        </pc:spChg>
        <pc:spChg chg="add mod">
          <ac:chgData name="Aurelien Domont" userId="6da7715ce44349b3" providerId="LiveId" clId="{7E9DDE9D-BE14-4F2F-B530-3883D1E41781}" dt="2021-05-26T07:36:03.969" v="1418"/>
          <ac:spMkLst>
            <pc:docMk/>
            <pc:sldMk cId="1413178546" sldId="1625"/>
            <ac:spMk id="18" creationId="{E5AAD555-8BC4-430C-97E0-198A906690E2}"/>
          </ac:spMkLst>
        </pc:spChg>
      </pc:sldChg>
      <pc:sldChg chg="addSp modSp add del mod">
        <pc:chgData name="Aurelien Domont" userId="6da7715ce44349b3" providerId="LiveId" clId="{7E9DDE9D-BE14-4F2F-B530-3883D1E41781}" dt="2021-05-26T07:37:43.681" v="1435"/>
        <pc:sldMkLst>
          <pc:docMk/>
          <pc:sldMk cId="1570167118" sldId="1626"/>
        </pc:sldMkLst>
        <pc:spChg chg="mod">
          <ac:chgData name="Aurelien Domont" userId="6da7715ce44349b3" providerId="LiveId" clId="{7E9DDE9D-BE14-4F2F-B530-3883D1E41781}" dt="2021-05-26T07:37:43.681" v="1435"/>
          <ac:spMkLst>
            <pc:docMk/>
            <pc:sldMk cId="1570167118" sldId="1626"/>
            <ac:spMk id="16" creationId="{6C2BB713-9637-4B9B-938F-E9768876782A}"/>
          </ac:spMkLst>
        </pc:spChg>
        <pc:spChg chg="add mod">
          <ac:chgData name="Aurelien Domont" userId="6da7715ce44349b3" providerId="LiveId" clId="{7E9DDE9D-BE14-4F2F-B530-3883D1E41781}" dt="2021-05-26T07:36:05.243" v="1419"/>
          <ac:spMkLst>
            <pc:docMk/>
            <pc:sldMk cId="1570167118" sldId="1626"/>
            <ac:spMk id="18" creationId="{74136DF0-4867-4A9B-80E8-4D3258EA6110}"/>
          </ac:spMkLst>
        </pc:spChg>
      </pc:sldChg>
      <pc:sldChg chg="addSp modSp add del mod">
        <pc:chgData name="Aurelien Domont" userId="6da7715ce44349b3" providerId="LiveId" clId="{7E9DDE9D-BE14-4F2F-B530-3883D1E41781}" dt="2021-05-26T07:37:46.477" v="1436"/>
        <pc:sldMkLst>
          <pc:docMk/>
          <pc:sldMk cId="1432716724" sldId="1627"/>
        </pc:sldMkLst>
        <pc:spChg chg="mod">
          <ac:chgData name="Aurelien Domont" userId="6da7715ce44349b3" providerId="LiveId" clId="{7E9DDE9D-BE14-4F2F-B530-3883D1E41781}" dt="2021-05-26T07:37:46.477" v="1436"/>
          <ac:spMkLst>
            <pc:docMk/>
            <pc:sldMk cId="1432716724" sldId="1627"/>
            <ac:spMk id="16" creationId="{6C2BB713-9637-4B9B-938F-E9768876782A}"/>
          </ac:spMkLst>
        </pc:spChg>
        <pc:spChg chg="add mod">
          <ac:chgData name="Aurelien Domont" userId="6da7715ce44349b3" providerId="LiveId" clId="{7E9DDE9D-BE14-4F2F-B530-3883D1E41781}" dt="2021-05-26T07:36:06.498" v="1420"/>
          <ac:spMkLst>
            <pc:docMk/>
            <pc:sldMk cId="1432716724" sldId="1627"/>
            <ac:spMk id="18" creationId="{E36FE328-AF83-418B-9345-B7A5EBB04D85}"/>
          </ac:spMkLst>
        </pc:spChg>
      </pc:sldChg>
      <pc:sldChg chg="add">
        <pc:chgData name="Aurelien Domont" userId="6da7715ce44349b3" providerId="LiveId" clId="{7E9DDE9D-BE14-4F2F-B530-3883D1E41781}" dt="2021-05-26T06:52:59.888" v="641"/>
        <pc:sldMkLst>
          <pc:docMk/>
          <pc:sldMk cId="2989568122" sldId="1628"/>
        </pc:sldMkLst>
      </pc:sldChg>
      <pc:sldChg chg="add">
        <pc:chgData name="Aurelien Domont" userId="6da7715ce44349b3" providerId="LiveId" clId="{7E9DDE9D-BE14-4F2F-B530-3883D1E41781}" dt="2021-05-26T06:52:59.888" v="641"/>
        <pc:sldMkLst>
          <pc:docMk/>
          <pc:sldMk cId="1650458346" sldId="1629"/>
        </pc:sldMkLst>
      </pc:sldChg>
      <pc:sldChg chg="add">
        <pc:chgData name="Aurelien Domont" userId="6da7715ce44349b3" providerId="LiveId" clId="{7E9DDE9D-BE14-4F2F-B530-3883D1E41781}" dt="2021-05-26T06:52:59.888" v="641"/>
        <pc:sldMkLst>
          <pc:docMk/>
          <pc:sldMk cId="1840306377" sldId="1630"/>
        </pc:sldMkLst>
      </pc:sldChg>
      <pc:sldChg chg="add">
        <pc:chgData name="Aurelien Domont" userId="6da7715ce44349b3" providerId="LiveId" clId="{7E9DDE9D-BE14-4F2F-B530-3883D1E41781}" dt="2021-05-26T06:52:59.888" v="641"/>
        <pc:sldMkLst>
          <pc:docMk/>
          <pc:sldMk cId="3499971063" sldId="1631"/>
        </pc:sldMkLst>
      </pc:sldChg>
      <pc:sldChg chg="add">
        <pc:chgData name="Aurelien Domont" userId="6da7715ce44349b3" providerId="LiveId" clId="{7E9DDE9D-BE14-4F2F-B530-3883D1E41781}" dt="2021-05-26T06:52:59.888" v="641"/>
        <pc:sldMkLst>
          <pc:docMk/>
          <pc:sldMk cId="731383534" sldId="1632"/>
        </pc:sldMkLst>
      </pc:sldChg>
      <pc:sldChg chg="add">
        <pc:chgData name="Aurelien Domont" userId="6da7715ce44349b3" providerId="LiveId" clId="{7E9DDE9D-BE14-4F2F-B530-3883D1E41781}" dt="2021-05-26T06:52:59.888" v="641"/>
        <pc:sldMkLst>
          <pc:docMk/>
          <pc:sldMk cId="2655339404" sldId="1633"/>
        </pc:sldMkLst>
      </pc:sldChg>
      <pc:sldChg chg="addSp modSp add mod">
        <pc:chgData name="Aurelien Domont" userId="6da7715ce44349b3" providerId="LiveId" clId="{7E9DDE9D-BE14-4F2F-B530-3883D1E41781}" dt="2021-05-26T08:02:43.708" v="2329" actId="6549"/>
        <pc:sldMkLst>
          <pc:docMk/>
          <pc:sldMk cId="3892463629" sldId="1672"/>
        </pc:sldMkLst>
        <pc:spChg chg="add mod">
          <ac:chgData name="Aurelien Domont" userId="6da7715ce44349b3" providerId="LiveId" clId="{7E9DDE9D-BE14-4F2F-B530-3883D1E41781}" dt="2021-05-26T08:01:57.498" v="2250" actId="207"/>
          <ac:spMkLst>
            <pc:docMk/>
            <pc:sldMk cId="3892463629" sldId="1672"/>
            <ac:spMk id="11" creationId="{0B6EEFB4-0B1F-4BD6-AEDB-D436469E627D}"/>
          </ac:spMkLst>
        </pc:spChg>
        <pc:spChg chg="add mod">
          <ac:chgData name="Aurelien Domont" userId="6da7715ce44349b3" providerId="LiveId" clId="{7E9DDE9D-BE14-4F2F-B530-3883D1E41781}" dt="2021-05-26T08:02:43.708" v="2329" actId="6549"/>
          <ac:spMkLst>
            <pc:docMk/>
            <pc:sldMk cId="3892463629" sldId="1672"/>
            <ac:spMk id="12" creationId="{4B31FB47-0080-4D79-A493-89FF1B898DB8}"/>
          </ac:spMkLst>
        </pc:spChg>
        <pc:spChg chg="mod">
          <ac:chgData name="Aurelien Domont" userId="6da7715ce44349b3" providerId="LiveId" clId="{7E9DDE9D-BE14-4F2F-B530-3883D1E41781}" dt="2021-05-26T08:00:42.928" v="2185"/>
          <ac:spMkLst>
            <pc:docMk/>
            <pc:sldMk cId="3892463629" sldId="1672"/>
            <ac:spMk id="16" creationId="{6C2BB713-9637-4B9B-938F-E9768876782A}"/>
          </ac:spMkLst>
        </pc:spChg>
        <pc:spChg chg="mod">
          <ac:chgData name="Aurelien Domont" userId="6da7715ce44349b3" providerId="LiveId" clId="{7E9DDE9D-BE14-4F2F-B530-3883D1E41781}" dt="2021-05-26T08:01:37.370" v="2225" actId="108"/>
          <ac:spMkLst>
            <pc:docMk/>
            <pc:sldMk cId="3892463629" sldId="1672"/>
            <ac:spMk id="23" creationId="{33C5226C-1E53-4722-AF69-B38ECA9740F5}"/>
          </ac:spMkLst>
        </pc:spChg>
        <pc:spChg chg="mod">
          <ac:chgData name="Aurelien Domont" userId="6da7715ce44349b3" providerId="LiveId" clId="{7E9DDE9D-BE14-4F2F-B530-3883D1E41781}" dt="2021-05-26T08:00:56.066" v="2198"/>
          <ac:spMkLst>
            <pc:docMk/>
            <pc:sldMk cId="3892463629" sldId="1672"/>
            <ac:spMk id="24" creationId="{CCF395A1-ACA9-47DC-90DE-03EC1F96BE2E}"/>
          </ac:spMkLst>
        </pc:spChg>
        <pc:spChg chg="mod">
          <ac:chgData name="Aurelien Domont" userId="6da7715ce44349b3" providerId="LiveId" clId="{7E9DDE9D-BE14-4F2F-B530-3883D1E41781}" dt="2021-05-26T08:01:33.702" v="2224" actId="108"/>
          <ac:spMkLst>
            <pc:docMk/>
            <pc:sldMk cId="3892463629" sldId="1672"/>
            <ac:spMk id="25" creationId="{D002F992-2C4C-4C20-9D8A-EFFF2044B6C1}"/>
          </ac:spMkLst>
        </pc:spChg>
      </pc:sldChg>
      <pc:sldChg chg="add">
        <pc:chgData name="Aurelien Domont" userId="6da7715ce44349b3" providerId="LiveId" clId="{7E9DDE9D-BE14-4F2F-B530-3883D1E41781}" dt="2021-05-27T02:14:30.389" v="2348"/>
        <pc:sldMkLst>
          <pc:docMk/>
          <pc:sldMk cId="1731657047" sldId="1678"/>
        </pc:sldMkLst>
      </pc:sldChg>
      <pc:sldChg chg="modSp add mod">
        <pc:chgData name="Aurelien Domont" userId="6da7715ce44349b3" providerId="LiveId" clId="{7E9DDE9D-BE14-4F2F-B530-3883D1E41781}" dt="2021-05-26T07:25:29.942" v="1379" actId="1076"/>
        <pc:sldMkLst>
          <pc:docMk/>
          <pc:sldMk cId="4262757208" sldId="1792"/>
        </pc:sldMkLst>
        <pc:spChg chg="mod">
          <ac:chgData name="Aurelien Domont" userId="6da7715ce44349b3" providerId="LiveId" clId="{7E9DDE9D-BE14-4F2F-B530-3883D1E41781}" dt="2021-05-26T07:25:29.942" v="1379" actId="1076"/>
          <ac:spMkLst>
            <pc:docMk/>
            <pc:sldMk cId="4262757208" sldId="1792"/>
            <ac:spMk id="17" creationId="{50252DA9-1955-4FEB-9EFC-CCAB81B44CF7}"/>
          </ac:spMkLst>
        </pc:spChg>
      </pc:sldChg>
      <pc:sldChg chg="delSp modSp add mod">
        <pc:chgData name="Aurelien Domont" userId="6da7715ce44349b3" providerId="LiveId" clId="{7E9DDE9D-BE14-4F2F-B530-3883D1E41781}" dt="2021-05-26T07:25:12.859" v="1376" actId="478"/>
        <pc:sldMkLst>
          <pc:docMk/>
          <pc:sldMk cId="504490806" sldId="1796"/>
        </pc:sldMkLst>
        <pc:spChg chg="mod">
          <ac:chgData name="Aurelien Domont" userId="6da7715ce44349b3" providerId="LiveId" clId="{7E9DDE9D-BE14-4F2F-B530-3883D1E41781}" dt="2021-05-26T07:25:11.149" v="1375" actId="20577"/>
          <ac:spMkLst>
            <pc:docMk/>
            <pc:sldMk cId="504490806" sldId="1796"/>
            <ac:spMk id="16" creationId="{6C2BB713-9637-4B9B-938F-E9768876782A}"/>
          </ac:spMkLst>
        </pc:spChg>
        <pc:grpChg chg="del">
          <ac:chgData name="Aurelien Domont" userId="6da7715ce44349b3" providerId="LiveId" clId="{7E9DDE9D-BE14-4F2F-B530-3883D1E41781}" dt="2021-05-26T07:25:12.859" v="1376" actId="478"/>
          <ac:grpSpMkLst>
            <pc:docMk/>
            <pc:sldMk cId="504490806" sldId="1796"/>
            <ac:grpSpMk id="32" creationId="{BDD78021-9ECB-4DB7-8DC2-F99FC8254686}"/>
          </ac:grpSpMkLst>
        </pc:grpChg>
      </pc:sldChg>
      <pc:sldChg chg="modSp add mod">
        <pc:chgData name="Aurelien Domont" userId="6da7715ce44349b3" providerId="LiveId" clId="{7E9DDE9D-BE14-4F2F-B530-3883D1E41781}" dt="2021-05-26T06:35:55.419" v="379" actId="20577"/>
        <pc:sldMkLst>
          <pc:docMk/>
          <pc:sldMk cId="529194852" sldId="1971"/>
        </pc:sldMkLst>
        <pc:spChg chg="mod">
          <ac:chgData name="Aurelien Domont" userId="6da7715ce44349b3" providerId="LiveId" clId="{7E9DDE9D-BE14-4F2F-B530-3883D1E41781}" dt="2021-05-26T06:35:55.419" v="379" actId="20577"/>
          <ac:spMkLst>
            <pc:docMk/>
            <pc:sldMk cId="529194852" sldId="1971"/>
            <ac:spMk id="16" creationId="{6C2BB713-9637-4B9B-938F-E9768876782A}"/>
          </ac:spMkLst>
        </pc:spChg>
      </pc:sldChg>
      <pc:sldChg chg="add del">
        <pc:chgData name="Aurelien Domont" userId="6da7715ce44349b3" providerId="LiveId" clId="{7E9DDE9D-BE14-4F2F-B530-3883D1E41781}" dt="2021-05-26T07:25:02.258" v="1371" actId="47"/>
        <pc:sldMkLst>
          <pc:docMk/>
          <pc:sldMk cId="2410991361" sldId="1972"/>
        </pc:sldMkLst>
      </pc:sldChg>
      <pc:sldChg chg="modSp add mod">
        <pc:chgData name="Aurelien Domont" userId="6da7715ce44349b3" providerId="LiveId" clId="{7E9DDE9D-BE14-4F2F-B530-3883D1E41781}" dt="2021-05-26T06:54:11.118" v="665" actId="20577"/>
        <pc:sldMkLst>
          <pc:docMk/>
          <pc:sldMk cId="1026744296" sldId="1986"/>
        </pc:sldMkLst>
        <pc:spChg chg="mod">
          <ac:chgData name="Aurelien Domont" userId="6da7715ce44349b3" providerId="LiveId" clId="{7E9DDE9D-BE14-4F2F-B530-3883D1E41781}" dt="2021-05-26T06:54:11.118" v="665" actId="20577"/>
          <ac:spMkLst>
            <pc:docMk/>
            <pc:sldMk cId="1026744296" sldId="1986"/>
            <ac:spMk id="16" creationId="{6C2BB713-9637-4B9B-938F-E9768876782A}"/>
          </ac:spMkLst>
        </pc:spChg>
      </pc:sldChg>
      <pc:sldChg chg="modSp add mod">
        <pc:chgData name="Aurelien Domont" userId="6da7715ce44349b3" providerId="LiveId" clId="{7E9DDE9D-BE14-4F2F-B530-3883D1E41781}" dt="2021-05-26T06:54:53.988" v="669" actId="20577"/>
        <pc:sldMkLst>
          <pc:docMk/>
          <pc:sldMk cId="1940386508" sldId="1988"/>
        </pc:sldMkLst>
        <pc:spChg chg="mod">
          <ac:chgData name="Aurelien Domont" userId="6da7715ce44349b3" providerId="LiveId" clId="{7E9DDE9D-BE14-4F2F-B530-3883D1E41781}" dt="2021-05-26T06:54:37.694" v="668" actId="20577"/>
          <ac:spMkLst>
            <pc:docMk/>
            <pc:sldMk cId="1940386508" sldId="1988"/>
            <ac:spMk id="16" creationId="{6C2BB713-9637-4B9B-938F-E9768876782A}"/>
          </ac:spMkLst>
        </pc:spChg>
        <pc:spChg chg="mod">
          <ac:chgData name="Aurelien Domont" userId="6da7715ce44349b3" providerId="LiveId" clId="{7E9DDE9D-BE14-4F2F-B530-3883D1E41781}" dt="2021-05-26T06:54:53.988" v="669" actId="20577"/>
          <ac:spMkLst>
            <pc:docMk/>
            <pc:sldMk cId="1940386508" sldId="1988"/>
            <ac:spMk id="21" creationId="{92716C47-C5EA-4346-B329-E1D03D4BFA33}"/>
          </ac:spMkLst>
        </pc:spChg>
      </pc:sldChg>
      <pc:sldChg chg="modSp add mod">
        <pc:chgData name="Aurelien Domont" userId="6da7715ce44349b3" providerId="LiveId" clId="{7E9DDE9D-BE14-4F2F-B530-3883D1E41781}" dt="2021-05-26T06:55:07.781" v="671" actId="14100"/>
        <pc:sldMkLst>
          <pc:docMk/>
          <pc:sldMk cId="2299758324" sldId="1989"/>
        </pc:sldMkLst>
        <pc:graphicFrameChg chg="modGraphic">
          <ac:chgData name="Aurelien Domont" userId="6da7715ce44349b3" providerId="LiveId" clId="{7E9DDE9D-BE14-4F2F-B530-3883D1E41781}" dt="2021-05-26T06:55:07.781" v="671" actId="14100"/>
          <ac:graphicFrameMkLst>
            <pc:docMk/>
            <pc:sldMk cId="2299758324" sldId="1989"/>
            <ac:graphicFrameMk id="6" creationId="{00CF544C-16DB-4360-9774-A3B8AA35597F}"/>
          </ac:graphicFrameMkLst>
        </pc:graphicFrameChg>
      </pc:sldChg>
      <pc:sldChg chg="add">
        <pc:chgData name="Aurelien Domont" userId="6da7715ce44349b3" providerId="LiveId" clId="{7E9DDE9D-BE14-4F2F-B530-3883D1E41781}" dt="2021-05-26T06:54:00.206" v="662"/>
        <pc:sldMkLst>
          <pc:docMk/>
          <pc:sldMk cId="1124419684" sldId="1990"/>
        </pc:sldMkLst>
      </pc:sldChg>
      <pc:sldChg chg="add">
        <pc:chgData name="Aurelien Domont" userId="6da7715ce44349b3" providerId="LiveId" clId="{7E9DDE9D-BE14-4F2F-B530-3883D1E41781}" dt="2021-05-26T06:54:00.206" v="662"/>
        <pc:sldMkLst>
          <pc:docMk/>
          <pc:sldMk cId="205289071" sldId="1991"/>
        </pc:sldMkLst>
      </pc:sldChg>
      <pc:sldChg chg="add">
        <pc:chgData name="Aurelien Domont" userId="6da7715ce44349b3" providerId="LiveId" clId="{7E9DDE9D-BE14-4F2F-B530-3883D1E41781}" dt="2021-05-26T06:54:00.206" v="662"/>
        <pc:sldMkLst>
          <pc:docMk/>
          <pc:sldMk cId="3239629277" sldId="1992"/>
        </pc:sldMkLst>
      </pc:sldChg>
      <pc:sldChg chg="addSp modSp add mod ord">
        <pc:chgData name="Aurelien Domont" userId="6da7715ce44349b3" providerId="LiveId" clId="{7E9DDE9D-BE14-4F2F-B530-3883D1E41781}" dt="2021-05-26T07:30:33.161" v="1401" actId="20577"/>
        <pc:sldMkLst>
          <pc:docMk/>
          <pc:sldMk cId="1752228771" sldId="1993"/>
        </pc:sldMkLst>
        <pc:spChg chg="add mod">
          <ac:chgData name="Aurelien Domont" userId="6da7715ce44349b3" providerId="LiveId" clId="{7E9DDE9D-BE14-4F2F-B530-3883D1E41781}" dt="2021-05-26T07:30:33.161" v="1401" actId="20577"/>
          <ac:spMkLst>
            <pc:docMk/>
            <pc:sldMk cId="1752228771" sldId="1993"/>
            <ac:spMk id="71" creationId="{EDC78997-AB20-433C-BB32-E5F9DDCCC6FE}"/>
          </ac:spMkLst>
        </pc:spChg>
      </pc:sldChg>
      <pc:sldChg chg="addSp modSp add mod">
        <pc:chgData name="Aurelien Domont" userId="6da7715ce44349b3" providerId="LiveId" clId="{7E9DDE9D-BE14-4F2F-B530-3883D1E41781}" dt="2021-05-26T07:46:18.521" v="1870" actId="20577"/>
        <pc:sldMkLst>
          <pc:docMk/>
          <pc:sldMk cId="2300727758" sldId="2012"/>
        </pc:sldMkLst>
        <pc:spChg chg="mod">
          <ac:chgData name="Aurelien Domont" userId="6da7715ce44349b3" providerId="LiveId" clId="{7E9DDE9D-BE14-4F2F-B530-3883D1E41781}" dt="2021-05-26T06:56:03.672" v="702" actId="20577"/>
          <ac:spMkLst>
            <pc:docMk/>
            <pc:sldMk cId="2300727758" sldId="2012"/>
            <ac:spMk id="16" creationId="{6C2BB713-9637-4B9B-938F-E9768876782A}"/>
          </ac:spMkLst>
        </pc:spChg>
        <pc:spChg chg="mod">
          <ac:chgData name="Aurelien Domont" userId="6da7715ce44349b3" providerId="LiveId" clId="{7E9DDE9D-BE14-4F2F-B530-3883D1E41781}" dt="2021-05-26T07:45:17.225" v="1773" actId="20577"/>
          <ac:spMkLst>
            <pc:docMk/>
            <pc:sldMk cId="2300727758" sldId="2012"/>
            <ac:spMk id="20" creationId="{9E568D6A-A3C8-41EF-8799-9B723819E568}"/>
          </ac:spMkLst>
        </pc:spChg>
        <pc:spChg chg="mod">
          <ac:chgData name="Aurelien Domont" userId="6da7715ce44349b3" providerId="LiveId" clId="{7E9DDE9D-BE14-4F2F-B530-3883D1E41781}" dt="2021-05-26T07:46:18.521" v="1870" actId="20577"/>
          <ac:spMkLst>
            <pc:docMk/>
            <pc:sldMk cId="2300727758" sldId="2012"/>
            <ac:spMk id="21" creationId="{7104AA12-F706-4F44-87F6-1B7F0090E61B}"/>
          </ac:spMkLst>
        </pc:spChg>
        <pc:spChg chg="add mod">
          <ac:chgData name="Aurelien Domont" userId="6da7715ce44349b3" providerId="LiveId" clId="{7E9DDE9D-BE14-4F2F-B530-3883D1E41781}" dt="2021-05-26T07:45:03.501" v="1745" actId="14100"/>
          <ac:spMkLst>
            <pc:docMk/>
            <pc:sldMk cId="2300727758" sldId="2012"/>
            <ac:spMk id="22" creationId="{B97A3D9F-E8AD-45EA-95CD-1ED6FD5D647F}"/>
          </ac:spMkLst>
        </pc:spChg>
      </pc:sldChg>
      <pc:sldChg chg="add del">
        <pc:chgData name="Aurelien Domont" userId="6da7715ce44349b3" providerId="LiveId" clId="{7E9DDE9D-BE14-4F2F-B530-3883D1E41781}" dt="2021-05-26T06:54:29.543" v="667" actId="47"/>
        <pc:sldMkLst>
          <pc:docMk/>
          <pc:sldMk cId="2514139350" sldId="2168"/>
        </pc:sldMkLst>
      </pc:sldChg>
      <pc:sldChg chg="add del">
        <pc:chgData name="Aurelien Domont" userId="6da7715ce44349b3" providerId="LiveId" clId="{7E9DDE9D-BE14-4F2F-B530-3883D1E41781}" dt="2021-05-26T06:54:22.619" v="666" actId="47"/>
        <pc:sldMkLst>
          <pc:docMk/>
          <pc:sldMk cId="2780470134" sldId="2169"/>
        </pc:sldMkLst>
      </pc:sldChg>
      <pc:sldChg chg="add">
        <pc:chgData name="Aurelien Domont" userId="6da7715ce44349b3" providerId="LiveId" clId="{7E9DDE9D-BE14-4F2F-B530-3883D1E41781}" dt="2021-05-26T06:34:51.708" v="349"/>
        <pc:sldMkLst>
          <pc:docMk/>
          <pc:sldMk cId="1424356935" sldId="2172"/>
        </pc:sldMkLst>
      </pc:sldChg>
      <pc:sldChg chg="add">
        <pc:chgData name="Aurelien Domont" userId="6da7715ce44349b3" providerId="LiveId" clId="{7E9DDE9D-BE14-4F2F-B530-3883D1E41781}" dt="2021-05-26T06:34:51.708" v="349"/>
        <pc:sldMkLst>
          <pc:docMk/>
          <pc:sldMk cId="3261568431" sldId="2173"/>
        </pc:sldMkLst>
      </pc:sldChg>
      <pc:sldChg chg="add">
        <pc:chgData name="Aurelien Domont" userId="6da7715ce44349b3" providerId="LiveId" clId="{7E9DDE9D-BE14-4F2F-B530-3883D1E41781}" dt="2021-05-26T06:34:51.708" v="349"/>
        <pc:sldMkLst>
          <pc:docMk/>
          <pc:sldMk cId="1382332683" sldId="2174"/>
        </pc:sldMkLst>
      </pc:sldChg>
      <pc:sldChg chg="add">
        <pc:chgData name="Aurelien Domont" userId="6da7715ce44349b3" providerId="LiveId" clId="{7E9DDE9D-BE14-4F2F-B530-3883D1E41781}" dt="2021-05-26T06:34:51.708" v="349"/>
        <pc:sldMkLst>
          <pc:docMk/>
          <pc:sldMk cId="2769929965" sldId="2175"/>
        </pc:sldMkLst>
      </pc:sldChg>
      <pc:sldChg chg="modSp del">
        <pc:chgData name="Aurelien Domont" userId="6da7715ce44349b3" providerId="LiveId" clId="{7E9DDE9D-BE14-4F2F-B530-3883D1E41781}" dt="2021-05-26T07:08:08.491" v="1241" actId="47"/>
        <pc:sldMkLst>
          <pc:docMk/>
          <pc:sldMk cId="1141822668" sldId="2176"/>
        </pc:sldMkLst>
        <pc:graphicFrameChg chg="mod">
          <ac:chgData name="Aurelien Domont" userId="6da7715ce44349b3" providerId="LiveId" clId="{7E9DDE9D-BE14-4F2F-B530-3883D1E41781}" dt="2021-05-26T06:38:41.655" v="384"/>
          <ac:graphicFrameMkLst>
            <pc:docMk/>
            <pc:sldMk cId="1141822668" sldId="2176"/>
            <ac:graphicFrameMk id="9" creationId="{E444264D-B8C0-43F0-BB97-5D36633E04CD}"/>
          </ac:graphicFrameMkLst>
        </pc:graphicFrameChg>
      </pc:sldChg>
      <pc:sldChg chg="modSp mod">
        <pc:chgData name="Aurelien Domont" userId="6da7715ce44349b3" providerId="LiveId" clId="{7E9DDE9D-BE14-4F2F-B530-3883D1E41781}" dt="2021-05-27T02:06:33.305" v="2335"/>
        <pc:sldMkLst>
          <pc:docMk/>
          <pc:sldMk cId="1110778063" sldId="2183"/>
        </pc:sldMkLst>
        <pc:spChg chg="mod">
          <ac:chgData name="Aurelien Domont" userId="6da7715ce44349b3" providerId="LiveId" clId="{7E9DDE9D-BE14-4F2F-B530-3883D1E41781}" dt="2021-05-26T06:09:51.796" v="44" actId="20577"/>
          <ac:spMkLst>
            <pc:docMk/>
            <pc:sldMk cId="1110778063" sldId="2183"/>
            <ac:spMk id="16" creationId="{6C2BB713-9637-4B9B-938F-E9768876782A}"/>
          </ac:spMkLst>
        </pc:spChg>
        <pc:spChg chg="mod">
          <ac:chgData name="Aurelien Domont" userId="6da7715ce44349b3" providerId="LiveId" clId="{7E9DDE9D-BE14-4F2F-B530-3883D1E41781}" dt="2021-05-26T06:10:00.149" v="46" actId="108"/>
          <ac:spMkLst>
            <pc:docMk/>
            <pc:sldMk cId="1110778063" sldId="2183"/>
            <ac:spMk id="18" creationId="{9A832821-28E7-48AC-A8A2-089BEA8CDC39}"/>
          </ac:spMkLst>
        </pc:spChg>
        <pc:spChg chg="mod">
          <ac:chgData name="Aurelien Domont" userId="6da7715ce44349b3" providerId="LiveId" clId="{7E9DDE9D-BE14-4F2F-B530-3883D1E41781}" dt="2021-05-26T06:09:56.806" v="45" actId="108"/>
          <ac:spMkLst>
            <pc:docMk/>
            <pc:sldMk cId="1110778063" sldId="2183"/>
            <ac:spMk id="19" creationId="{F6B03F74-2EBD-489D-B3D9-985345DDBB2F}"/>
          </ac:spMkLst>
        </pc:spChg>
        <pc:spChg chg="mod">
          <ac:chgData name="Aurelien Domont" userId="6da7715ce44349b3" providerId="LiveId" clId="{7E9DDE9D-BE14-4F2F-B530-3883D1E41781}" dt="2021-05-26T06:38:41.655" v="384"/>
          <ac:spMkLst>
            <pc:docMk/>
            <pc:sldMk cId="1110778063" sldId="2183"/>
            <ac:spMk id="27" creationId="{BE7FA4F0-3C49-4DE0-BDCC-49225B7F31CF}"/>
          </ac:spMkLst>
        </pc:spChg>
        <pc:spChg chg="mod">
          <ac:chgData name="Aurelien Domont" userId="6da7715ce44349b3" providerId="LiveId" clId="{7E9DDE9D-BE14-4F2F-B530-3883D1E41781}" dt="2021-05-27T02:06:33.305" v="2335"/>
          <ac:spMkLst>
            <pc:docMk/>
            <pc:sldMk cId="1110778063" sldId="2183"/>
            <ac:spMk id="29" creationId="{EBEF7E50-77EE-4FFC-9C8F-5F1C532B51AE}"/>
          </ac:spMkLst>
        </pc:spChg>
      </pc:sldChg>
      <pc:sldChg chg="modSp mod">
        <pc:chgData name="Aurelien Domont" userId="6da7715ce44349b3" providerId="LiveId" clId="{7E9DDE9D-BE14-4F2F-B530-3883D1E41781}" dt="2021-05-26T06:09:04.706" v="35" actId="20577"/>
        <pc:sldMkLst>
          <pc:docMk/>
          <pc:sldMk cId="4292960502" sldId="2184"/>
        </pc:sldMkLst>
        <pc:spChg chg="mod">
          <ac:chgData name="Aurelien Domont" userId="6da7715ce44349b3" providerId="LiveId" clId="{7E9DDE9D-BE14-4F2F-B530-3883D1E41781}" dt="2021-05-26T06:09:04.706" v="35" actId="20577"/>
          <ac:spMkLst>
            <pc:docMk/>
            <pc:sldMk cId="4292960502" sldId="2184"/>
            <ac:spMk id="3" creationId="{6BE1B6B4-87AF-4A0F-9A81-38B388B86D24}"/>
          </ac:spMkLst>
        </pc:spChg>
      </pc:sldChg>
      <pc:sldChg chg="del">
        <pc:chgData name="Aurelien Domont" userId="6da7715ce44349b3" providerId="LiveId" clId="{7E9DDE9D-BE14-4F2F-B530-3883D1E41781}" dt="2021-05-26T07:08:08.491" v="1241" actId="47"/>
        <pc:sldMkLst>
          <pc:docMk/>
          <pc:sldMk cId="542636106" sldId="2185"/>
        </pc:sldMkLst>
      </pc:sldChg>
      <pc:sldChg chg="modSp del">
        <pc:chgData name="Aurelien Domont" userId="6da7715ce44349b3" providerId="LiveId" clId="{7E9DDE9D-BE14-4F2F-B530-3883D1E41781}" dt="2021-05-26T07:08:08.491" v="1241" actId="47"/>
        <pc:sldMkLst>
          <pc:docMk/>
          <pc:sldMk cId="1883424115" sldId="2187"/>
        </pc:sldMkLst>
        <pc:spChg chg="mod">
          <ac:chgData name="Aurelien Domont" userId="6da7715ce44349b3" providerId="LiveId" clId="{7E9DDE9D-BE14-4F2F-B530-3883D1E41781}" dt="2021-05-26T06:38:41.655" v="384"/>
          <ac:spMkLst>
            <pc:docMk/>
            <pc:sldMk cId="1883424115" sldId="2187"/>
            <ac:spMk id="27" creationId="{BE7FA4F0-3C49-4DE0-BDCC-49225B7F31CF}"/>
          </ac:spMkLst>
        </pc:spChg>
      </pc:sldChg>
      <pc:sldChg chg="modSp del">
        <pc:chgData name="Aurelien Domont" userId="6da7715ce44349b3" providerId="LiveId" clId="{7E9DDE9D-BE14-4F2F-B530-3883D1E41781}" dt="2021-05-26T07:08:08.491" v="1241" actId="47"/>
        <pc:sldMkLst>
          <pc:docMk/>
          <pc:sldMk cId="4044835620" sldId="2189"/>
        </pc:sldMkLst>
        <pc:spChg chg="mod">
          <ac:chgData name="Aurelien Domont" userId="6da7715ce44349b3" providerId="LiveId" clId="{7E9DDE9D-BE14-4F2F-B530-3883D1E41781}" dt="2021-05-26T06:38:41.655" v="384"/>
          <ac:spMkLst>
            <pc:docMk/>
            <pc:sldMk cId="4044835620" sldId="2189"/>
            <ac:spMk id="27" creationId="{BE7FA4F0-3C49-4DE0-BDCC-49225B7F31CF}"/>
          </ac:spMkLst>
        </pc:spChg>
      </pc:sldChg>
      <pc:sldChg chg="modSp del">
        <pc:chgData name="Aurelien Domont" userId="6da7715ce44349b3" providerId="LiveId" clId="{7E9DDE9D-BE14-4F2F-B530-3883D1E41781}" dt="2021-05-26T07:08:08.491" v="1241" actId="47"/>
        <pc:sldMkLst>
          <pc:docMk/>
          <pc:sldMk cId="4192609216" sldId="2190"/>
        </pc:sldMkLst>
        <pc:spChg chg="mod">
          <ac:chgData name="Aurelien Domont" userId="6da7715ce44349b3" providerId="LiveId" clId="{7E9DDE9D-BE14-4F2F-B530-3883D1E41781}" dt="2021-05-26T06:38:41.655" v="384"/>
          <ac:spMkLst>
            <pc:docMk/>
            <pc:sldMk cId="4192609216" sldId="2190"/>
            <ac:spMk id="27" creationId="{BE7FA4F0-3C49-4DE0-BDCC-49225B7F31CF}"/>
          </ac:spMkLst>
        </pc:spChg>
      </pc:sldChg>
      <pc:sldChg chg="del">
        <pc:chgData name="Aurelien Domont" userId="6da7715ce44349b3" providerId="LiveId" clId="{7E9DDE9D-BE14-4F2F-B530-3883D1E41781}" dt="2021-05-26T07:08:08.491" v="1241" actId="47"/>
        <pc:sldMkLst>
          <pc:docMk/>
          <pc:sldMk cId="252561860" sldId="2191"/>
        </pc:sldMkLst>
      </pc:sldChg>
      <pc:sldChg chg="del">
        <pc:chgData name="Aurelien Domont" userId="6da7715ce44349b3" providerId="LiveId" clId="{7E9DDE9D-BE14-4F2F-B530-3883D1E41781}" dt="2021-05-26T07:08:08.491" v="1241" actId="47"/>
        <pc:sldMkLst>
          <pc:docMk/>
          <pc:sldMk cId="1291775963" sldId="2192"/>
        </pc:sldMkLst>
      </pc:sldChg>
      <pc:sldChg chg="modSp del">
        <pc:chgData name="Aurelien Domont" userId="6da7715ce44349b3" providerId="LiveId" clId="{7E9DDE9D-BE14-4F2F-B530-3883D1E41781}" dt="2021-05-26T07:08:08.491" v="1241" actId="47"/>
        <pc:sldMkLst>
          <pc:docMk/>
          <pc:sldMk cId="1499175507" sldId="2193"/>
        </pc:sldMkLst>
        <pc:spChg chg="mod">
          <ac:chgData name="Aurelien Domont" userId="6da7715ce44349b3" providerId="LiveId" clId="{7E9DDE9D-BE14-4F2F-B530-3883D1E41781}" dt="2021-05-26T06:38:41.655" v="384"/>
          <ac:spMkLst>
            <pc:docMk/>
            <pc:sldMk cId="1499175507" sldId="2193"/>
            <ac:spMk id="27" creationId="{BE7FA4F0-3C49-4DE0-BDCC-49225B7F31CF}"/>
          </ac:spMkLst>
        </pc:spChg>
      </pc:sldChg>
      <pc:sldChg chg="del">
        <pc:chgData name="Aurelien Domont" userId="6da7715ce44349b3" providerId="LiveId" clId="{7E9DDE9D-BE14-4F2F-B530-3883D1E41781}" dt="2021-05-26T07:08:08.491" v="1241" actId="47"/>
        <pc:sldMkLst>
          <pc:docMk/>
          <pc:sldMk cId="1177967045" sldId="2195"/>
        </pc:sldMkLst>
      </pc:sldChg>
      <pc:sldChg chg="del">
        <pc:chgData name="Aurelien Domont" userId="6da7715ce44349b3" providerId="LiveId" clId="{7E9DDE9D-BE14-4F2F-B530-3883D1E41781}" dt="2021-05-26T07:08:08.491" v="1241" actId="47"/>
        <pc:sldMkLst>
          <pc:docMk/>
          <pc:sldMk cId="793542605" sldId="2196"/>
        </pc:sldMkLst>
      </pc:sldChg>
      <pc:sldChg chg="del">
        <pc:chgData name="Aurelien Domont" userId="6da7715ce44349b3" providerId="LiveId" clId="{7E9DDE9D-BE14-4F2F-B530-3883D1E41781}" dt="2021-05-26T07:08:08.491" v="1241" actId="47"/>
        <pc:sldMkLst>
          <pc:docMk/>
          <pc:sldMk cId="1206354650" sldId="2197"/>
        </pc:sldMkLst>
      </pc:sldChg>
      <pc:sldChg chg="del">
        <pc:chgData name="Aurelien Domont" userId="6da7715ce44349b3" providerId="LiveId" clId="{7E9DDE9D-BE14-4F2F-B530-3883D1E41781}" dt="2021-05-26T07:08:08.491" v="1241" actId="47"/>
        <pc:sldMkLst>
          <pc:docMk/>
          <pc:sldMk cId="2990142530" sldId="2198"/>
        </pc:sldMkLst>
      </pc:sldChg>
      <pc:sldChg chg="modSp del">
        <pc:chgData name="Aurelien Domont" userId="6da7715ce44349b3" providerId="LiveId" clId="{7E9DDE9D-BE14-4F2F-B530-3883D1E41781}" dt="2021-05-26T07:08:08.491" v="1241" actId="47"/>
        <pc:sldMkLst>
          <pc:docMk/>
          <pc:sldMk cId="3820082592" sldId="2199"/>
        </pc:sldMkLst>
        <pc:spChg chg="mod">
          <ac:chgData name="Aurelien Domont" userId="6da7715ce44349b3" providerId="LiveId" clId="{7E9DDE9D-BE14-4F2F-B530-3883D1E41781}" dt="2021-05-26T06:38:41.655" v="384"/>
          <ac:spMkLst>
            <pc:docMk/>
            <pc:sldMk cId="3820082592" sldId="2199"/>
            <ac:spMk id="27" creationId="{BE7FA4F0-3C49-4DE0-BDCC-49225B7F31CF}"/>
          </ac:spMkLst>
        </pc:spChg>
      </pc:sldChg>
      <pc:sldChg chg="del">
        <pc:chgData name="Aurelien Domont" userId="6da7715ce44349b3" providerId="LiveId" clId="{7E9DDE9D-BE14-4F2F-B530-3883D1E41781}" dt="2021-05-26T07:08:08.491" v="1241" actId="47"/>
        <pc:sldMkLst>
          <pc:docMk/>
          <pc:sldMk cId="513527490" sldId="2200"/>
        </pc:sldMkLst>
      </pc:sldChg>
      <pc:sldChg chg="del">
        <pc:chgData name="Aurelien Domont" userId="6da7715ce44349b3" providerId="LiveId" clId="{7E9DDE9D-BE14-4F2F-B530-3883D1E41781}" dt="2021-05-26T06:10:08.296" v="47" actId="47"/>
        <pc:sldMkLst>
          <pc:docMk/>
          <pc:sldMk cId="2661957683" sldId="2201"/>
        </pc:sldMkLst>
      </pc:sldChg>
      <pc:sldChg chg="modSp del mod">
        <pc:chgData name="Aurelien Domont" userId="6da7715ce44349b3" providerId="LiveId" clId="{7E9DDE9D-BE14-4F2F-B530-3883D1E41781}" dt="2021-05-26T07:08:08.491" v="1241" actId="47"/>
        <pc:sldMkLst>
          <pc:docMk/>
          <pc:sldMk cId="567542991" sldId="2202"/>
        </pc:sldMkLst>
        <pc:spChg chg="mod">
          <ac:chgData name="Aurelien Domont" userId="6da7715ce44349b3" providerId="LiveId" clId="{7E9DDE9D-BE14-4F2F-B530-3883D1E41781}" dt="2021-05-26T07:02:54.191" v="1036" actId="1076"/>
          <ac:spMkLst>
            <pc:docMk/>
            <pc:sldMk cId="567542991" sldId="2202"/>
            <ac:spMk id="24" creationId="{0F9E4179-95B2-4E43-A459-DEC57999546A}"/>
          </ac:spMkLst>
        </pc:spChg>
      </pc:sldChg>
      <pc:sldChg chg="del">
        <pc:chgData name="Aurelien Domont" userId="6da7715ce44349b3" providerId="LiveId" clId="{7E9DDE9D-BE14-4F2F-B530-3883D1E41781}" dt="2021-05-26T07:08:08.491" v="1241" actId="47"/>
        <pc:sldMkLst>
          <pc:docMk/>
          <pc:sldMk cId="26917896" sldId="2203"/>
        </pc:sldMkLst>
      </pc:sldChg>
      <pc:sldChg chg="del">
        <pc:chgData name="Aurelien Domont" userId="6da7715ce44349b3" providerId="LiveId" clId="{7E9DDE9D-BE14-4F2F-B530-3883D1E41781}" dt="2021-05-26T07:08:08.491" v="1241" actId="47"/>
        <pc:sldMkLst>
          <pc:docMk/>
          <pc:sldMk cId="3260603161" sldId="2204"/>
        </pc:sldMkLst>
      </pc:sldChg>
      <pc:sldChg chg="modSp del">
        <pc:chgData name="Aurelien Domont" userId="6da7715ce44349b3" providerId="LiveId" clId="{7E9DDE9D-BE14-4F2F-B530-3883D1E41781}" dt="2021-05-26T07:08:08.491" v="1241" actId="47"/>
        <pc:sldMkLst>
          <pc:docMk/>
          <pc:sldMk cId="2836562888" sldId="2205"/>
        </pc:sldMkLst>
        <pc:spChg chg="mod">
          <ac:chgData name="Aurelien Domont" userId="6da7715ce44349b3" providerId="LiveId" clId="{7E9DDE9D-BE14-4F2F-B530-3883D1E41781}" dt="2021-05-26T06:38:41.655" v="384"/>
          <ac:spMkLst>
            <pc:docMk/>
            <pc:sldMk cId="2836562888" sldId="2205"/>
            <ac:spMk id="27" creationId="{BE7FA4F0-3C49-4DE0-BDCC-49225B7F31CF}"/>
          </ac:spMkLst>
        </pc:spChg>
      </pc:sldChg>
      <pc:sldChg chg="del">
        <pc:chgData name="Aurelien Domont" userId="6da7715ce44349b3" providerId="LiveId" clId="{7E9DDE9D-BE14-4F2F-B530-3883D1E41781}" dt="2021-05-26T07:08:08.491" v="1241" actId="47"/>
        <pc:sldMkLst>
          <pc:docMk/>
          <pc:sldMk cId="3280891638" sldId="2206"/>
        </pc:sldMkLst>
      </pc:sldChg>
      <pc:sldChg chg="del">
        <pc:chgData name="Aurelien Domont" userId="6da7715ce44349b3" providerId="LiveId" clId="{7E9DDE9D-BE14-4F2F-B530-3883D1E41781}" dt="2021-05-26T07:08:08.491" v="1241" actId="47"/>
        <pc:sldMkLst>
          <pc:docMk/>
          <pc:sldMk cId="216224630" sldId="2207"/>
        </pc:sldMkLst>
      </pc:sldChg>
      <pc:sldChg chg="del">
        <pc:chgData name="Aurelien Domont" userId="6da7715ce44349b3" providerId="LiveId" clId="{7E9DDE9D-BE14-4F2F-B530-3883D1E41781}" dt="2021-05-26T07:08:08.491" v="1241" actId="47"/>
        <pc:sldMkLst>
          <pc:docMk/>
          <pc:sldMk cId="3667406482" sldId="2208"/>
        </pc:sldMkLst>
      </pc:sldChg>
      <pc:sldChg chg="del">
        <pc:chgData name="Aurelien Domont" userId="6da7715ce44349b3" providerId="LiveId" clId="{7E9DDE9D-BE14-4F2F-B530-3883D1E41781}" dt="2021-05-26T07:08:08.491" v="1241" actId="47"/>
        <pc:sldMkLst>
          <pc:docMk/>
          <pc:sldMk cId="2580746334" sldId="2209"/>
        </pc:sldMkLst>
      </pc:sldChg>
      <pc:sldChg chg="del">
        <pc:chgData name="Aurelien Domont" userId="6da7715ce44349b3" providerId="LiveId" clId="{7E9DDE9D-BE14-4F2F-B530-3883D1E41781}" dt="2021-05-26T07:08:08.491" v="1241" actId="47"/>
        <pc:sldMkLst>
          <pc:docMk/>
          <pc:sldMk cId="2516775586" sldId="2210"/>
        </pc:sldMkLst>
      </pc:sldChg>
      <pc:sldChg chg="del">
        <pc:chgData name="Aurelien Domont" userId="6da7715ce44349b3" providerId="LiveId" clId="{7E9DDE9D-BE14-4F2F-B530-3883D1E41781}" dt="2021-05-26T07:08:08.491" v="1241" actId="47"/>
        <pc:sldMkLst>
          <pc:docMk/>
          <pc:sldMk cId="708349765" sldId="2211"/>
        </pc:sldMkLst>
      </pc:sldChg>
      <pc:sldChg chg="addSp modSp new del mod">
        <pc:chgData name="Aurelien Domont" userId="6da7715ce44349b3" providerId="LiveId" clId="{7E9DDE9D-BE14-4F2F-B530-3883D1E41781}" dt="2021-05-26T07:08:08.491" v="1241" actId="47"/>
        <pc:sldMkLst>
          <pc:docMk/>
          <pc:sldMk cId="2050109567" sldId="2212"/>
        </pc:sldMkLst>
        <pc:spChg chg="add mod">
          <ac:chgData name="Aurelien Domont" userId="6da7715ce44349b3" providerId="LiveId" clId="{7E9DDE9D-BE14-4F2F-B530-3883D1E41781}" dt="2021-05-26T06:10:24.775" v="50" actId="207"/>
          <ac:spMkLst>
            <pc:docMk/>
            <pc:sldMk cId="2050109567" sldId="2212"/>
            <ac:spMk id="3" creationId="{D0E85E03-D5BB-422C-93F2-EFFD0D670DD6}"/>
          </ac:spMkLst>
        </pc:spChg>
      </pc:sldChg>
      <pc:sldChg chg="addSp modSp add mod">
        <pc:chgData name="Aurelien Domont" userId="6da7715ce44349b3" providerId="LiveId" clId="{7E9DDE9D-BE14-4F2F-B530-3883D1E41781}" dt="2021-05-27T02:06:38.992" v="2336"/>
        <pc:sldMkLst>
          <pc:docMk/>
          <pc:sldMk cId="2338111145" sldId="2213"/>
        </pc:sldMkLst>
        <pc:spChg chg="add mod ord">
          <ac:chgData name="Aurelien Domont" userId="6da7715ce44349b3" providerId="LiveId" clId="{7E9DDE9D-BE14-4F2F-B530-3883D1E41781}" dt="2021-05-26T06:11:06.483" v="132" actId="1037"/>
          <ac:spMkLst>
            <pc:docMk/>
            <pc:sldMk cId="2338111145" sldId="2213"/>
            <ac:spMk id="15" creationId="{5BA9C11D-1808-497E-AA49-38C8D2F7AC72}"/>
          </ac:spMkLst>
        </pc:spChg>
        <pc:spChg chg="mod">
          <ac:chgData name="Aurelien Domont" userId="6da7715ce44349b3" providerId="LiveId" clId="{7E9DDE9D-BE14-4F2F-B530-3883D1E41781}" dt="2021-05-26T06:10:50.212" v="65" actId="20577"/>
          <ac:spMkLst>
            <pc:docMk/>
            <pc:sldMk cId="2338111145" sldId="2213"/>
            <ac:spMk id="16" creationId="{6C2BB713-9637-4B9B-938F-E9768876782A}"/>
          </ac:spMkLst>
        </pc:spChg>
        <pc:spChg chg="mod">
          <ac:chgData name="Aurelien Domont" userId="6da7715ce44349b3" providerId="LiveId" clId="{7E9DDE9D-BE14-4F2F-B530-3883D1E41781}" dt="2021-05-26T06:38:41.655" v="384"/>
          <ac:spMkLst>
            <pc:docMk/>
            <pc:sldMk cId="2338111145" sldId="2213"/>
            <ac:spMk id="27" creationId="{BE7FA4F0-3C49-4DE0-BDCC-49225B7F31CF}"/>
          </ac:spMkLst>
        </pc:spChg>
        <pc:spChg chg="mod">
          <ac:chgData name="Aurelien Domont" userId="6da7715ce44349b3" providerId="LiveId" clId="{7E9DDE9D-BE14-4F2F-B530-3883D1E41781}" dt="2021-05-27T02:06:38.992" v="2336"/>
          <ac:spMkLst>
            <pc:docMk/>
            <pc:sldMk cId="2338111145" sldId="2213"/>
            <ac:spMk id="29" creationId="{EBEF7E50-77EE-4FFC-9C8F-5F1C532B51AE}"/>
          </ac:spMkLst>
        </pc:spChg>
      </pc:sldChg>
      <pc:sldChg chg="modSp add mod">
        <pc:chgData name="Aurelien Domont" userId="6da7715ce44349b3" providerId="LiveId" clId="{7E9DDE9D-BE14-4F2F-B530-3883D1E41781}" dt="2021-05-27T02:06:42.964" v="2337"/>
        <pc:sldMkLst>
          <pc:docMk/>
          <pc:sldMk cId="3381246474" sldId="2214"/>
        </pc:sldMkLst>
        <pc:spChg chg="mod">
          <ac:chgData name="Aurelien Domont" userId="6da7715ce44349b3" providerId="LiveId" clId="{7E9DDE9D-BE14-4F2F-B530-3883D1E41781}" dt="2021-05-26T06:19:15.631" v="218" actId="1035"/>
          <ac:spMkLst>
            <pc:docMk/>
            <pc:sldMk cId="3381246474" sldId="2214"/>
            <ac:spMk id="15" creationId="{5BA9C11D-1808-497E-AA49-38C8D2F7AC72}"/>
          </ac:spMkLst>
        </pc:spChg>
        <pc:spChg chg="mod">
          <ac:chgData name="Aurelien Domont" userId="6da7715ce44349b3" providerId="LiveId" clId="{7E9DDE9D-BE14-4F2F-B530-3883D1E41781}" dt="2021-05-26T06:19:09.959" v="201" actId="6549"/>
          <ac:spMkLst>
            <pc:docMk/>
            <pc:sldMk cId="3381246474" sldId="2214"/>
            <ac:spMk id="16" creationId="{6C2BB713-9637-4B9B-938F-E9768876782A}"/>
          </ac:spMkLst>
        </pc:spChg>
        <pc:spChg chg="mod">
          <ac:chgData name="Aurelien Domont" userId="6da7715ce44349b3" providerId="LiveId" clId="{7E9DDE9D-BE14-4F2F-B530-3883D1E41781}" dt="2021-05-26T06:38:41.655" v="384"/>
          <ac:spMkLst>
            <pc:docMk/>
            <pc:sldMk cId="3381246474" sldId="2214"/>
            <ac:spMk id="27" creationId="{BE7FA4F0-3C49-4DE0-BDCC-49225B7F31CF}"/>
          </ac:spMkLst>
        </pc:spChg>
        <pc:spChg chg="mod">
          <ac:chgData name="Aurelien Domont" userId="6da7715ce44349b3" providerId="LiveId" clId="{7E9DDE9D-BE14-4F2F-B530-3883D1E41781}" dt="2021-05-27T02:06:42.964" v="2337"/>
          <ac:spMkLst>
            <pc:docMk/>
            <pc:sldMk cId="3381246474" sldId="2214"/>
            <ac:spMk id="29" creationId="{EBEF7E50-77EE-4FFC-9C8F-5F1C532B51AE}"/>
          </ac:spMkLst>
        </pc:spChg>
      </pc:sldChg>
      <pc:sldChg chg="modSp add mod">
        <pc:chgData name="Aurelien Domont" userId="6da7715ce44349b3" providerId="LiveId" clId="{7E9DDE9D-BE14-4F2F-B530-3883D1E41781}" dt="2021-05-27T02:06:47.968" v="2338"/>
        <pc:sldMkLst>
          <pc:docMk/>
          <pc:sldMk cId="1932670553" sldId="2215"/>
        </pc:sldMkLst>
        <pc:spChg chg="mod">
          <ac:chgData name="Aurelien Domont" userId="6da7715ce44349b3" providerId="LiveId" clId="{7E9DDE9D-BE14-4F2F-B530-3883D1E41781}" dt="2021-05-26T06:20:38.812" v="264" actId="14100"/>
          <ac:spMkLst>
            <pc:docMk/>
            <pc:sldMk cId="1932670553" sldId="2215"/>
            <ac:spMk id="15" creationId="{5BA9C11D-1808-497E-AA49-38C8D2F7AC72}"/>
          </ac:spMkLst>
        </pc:spChg>
        <pc:spChg chg="mod">
          <ac:chgData name="Aurelien Domont" userId="6da7715ce44349b3" providerId="LiveId" clId="{7E9DDE9D-BE14-4F2F-B530-3883D1E41781}" dt="2021-05-26T06:20:37.951" v="262" actId="20577"/>
          <ac:spMkLst>
            <pc:docMk/>
            <pc:sldMk cId="1932670553" sldId="2215"/>
            <ac:spMk id="16" creationId="{6C2BB713-9637-4B9B-938F-E9768876782A}"/>
          </ac:spMkLst>
        </pc:spChg>
        <pc:spChg chg="mod">
          <ac:chgData name="Aurelien Domont" userId="6da7715ce44349b3" providerId="LiveId" clId="{7E9DDE9D-BE14-4F2F-B530-3883D1E41781}" dt="2021-05-26T06:38:41.655" v="384"/>
          <ac:spMkLst>
            <pc:docMk/>
            <pc:sldMk cId="1932670553" sldId="2215"/>
            <ac:spMk id="27" creationId="{BE7FA4F0-3C49-4DE0-BDCC-49225B7F31CF}"/>
          </ac:spMkLst>
        </pc:spChg>
        <pc:spChg chg="mod">
          <ac:chgData name="Aurelien Domont" userId="6da7715ce44349b3" providerId="LiveId" clId="{7E9DDE9D-BE14-4F2F-B530-3883D1E41781}" dt="2021-05-27T02:06:47.968" v="2338"/>
          <ac:spMkLst>
            <pc:docMk/>
            <pc:sldMk cId="1932670553" sldId="2215"/>
            <ac:spMk id="29" creationId="{EBEF7E50-77EE-4FFC-9C8F-5F1C532B51AE}"/>
          </ac:spMkLst>
        </pc:spChg>
      </pc:sldChg>
      <pc:sldChg chg="modSp add del mod">
        <pc:chgData name="Aurelien Domont" userId="6da7715ce44349b3" providerId="LiveId" clId="{7E9DDE9D-BE14-4F2F-B530-3883D1E41781}" dt="2021-05-26T07:34:08.873" v="1404" actId="47"/>
        <pc:sldMkLst>
          <pc:docMk/>
          <pc:sldMk cId="326219185" sldId="2216"/>
        </pc:sldMkLst>
        <pc:spChg chg="mod">
          <ac:chgData name="Aurelien Domont" userId="6da7715ce44349b3" providerId="LiveId" clId="{7E9DDE9D-BE14-4F2F-B530-3883D1E41781}" dt="2021-05-26T06:21:04.842" v="293" actId="14100"/>
          <ac:spMkLst>
            <pc:docMk/>
            <pc:sldMk cId="326219185" sldId="2216"/>
            <ac:spMk id="15" creationId="{5BA9C11D-1808-497E-AA49-38C8D2F7AC72}"/>
          </ac:spMkLst>
        </pc:spChg>
        <pc:spChg chg="mod">
          <ac:chgData name="Aurelien Domont" userId="6da7715ce44349b3" providerId="LiveId" clId="{7E9DDE9D-BE14-4F2F-B530-3883D1E41781}" dt="2021-05-26T06:21:16.845" v="297" actId="20577"/>
          <ac:spMkLst>
            <pc:docMk/>
            <pc:sldMk cId="326219185" sldId="2216"/>
            <ac:spMk id="16" creationId="{6C2BB713-9637-4B9B-938F-E9768876782A}"/>
          </ac:spMkLst>
        </pc:spChg>
        <pc:spChg chg="mod">
          <ac:chgData name="Aurelien Domont" userId="6da7715ce44349b3" providerId="LiveId" clId="{7E9DDE9D-BE14-4F2F-B530-3883D1E41781}" dt="2021-05-26T06:38:41.655" v="384"/>
          <ac:spMkLst>
            <pc:docMk/>
            <pc:sldMk cId="326219185" sldId="2216"/>
            <ac:spMk id="27" creationId="{BE7FA4F0-3C49-4DE0-BDCC-49225B7F31CF}"/>
          </ac:spMkLst>
        </pc:spChg>
      </pc:sldChg>
      <pc:sldChg chg="add">
        <pc:chgData name="Aurelien Domont" userId="6da7715ce44349b3" providerId="LiveId" clId="{7E9DDE9D-BE14-4F2F-B530-3883D1E41781}" dt="2021-05-26T06:21:27.131" v="298"/>
        <pc:sldMkLst>
          <pc:docMk/>
          <pc:sldMk cId="3733348164" sldId="2217"/>
        </pc:sldMkLst>
      </pc:sldChg>
      <pc:sldChg chg="modSp add mod">
        <pc:chgData name="Aurelien Domont" userId="6da7715ce44349b3" providerId="LiveId" clId="{7E9DDE9D-BE14-4F2F-B530-3883D1E41781}" dt="2021-05-27T02:06:58.242" v="2340"/>
        <pc:sldMkLst>
          <pc:docMk/>
          <pc:sldMk cId="2972339496" sldId="2218"/>
        </pc:sldMkLst>
        <pc:spChg chg="mod">
          <ac:chgData name="Aurelien Domont" userId="6da7715ce44349b3" providerId="LiveId" clId="{7E9DDE9D-BE14-4F2F-B530-3883D1E41781}" dt="2021-05-26T06:22:09.998" v="325" actId="1035"/>
          <ac:spMkLst>
            <pc:docMk/>
            <pc:sldMk cId="2972339496" sldId="2218"/>
            <ac:spMk id="15" creationId="{5BA9C11D-1808-497E-AA49-38C8D2F7AC72}"/>
          </ac:spMkLst>
        </pc:spChg>
        <pc:spChg chg="mod">
          <ac:chgData name="Aurelien Domont" userId="6da7715ce44349b3" providerId="LiveId" clId="{7E9DDE9D-BE14-4F2F-B530-3883D1E41781}" dt="2021-05-26T06:21:43.795" v="303" actId="20577"/>
          <ac:spMkLst>
            <pc:docMk/>
            <pc:sldMk cId="2972339496" sldId="2218"/>
            <ac:spMk id="16" creationId="{6C2BB713-9637-4B9B-938F-E9768876782A}"/>
          </ac:spMkLst>
        </pc:spChg>
        <pc:spChg chg="mod">
          <ac:chgData name="Aurelien Domont" userId="6da7715ce44349b3" providerId="LiveId" clId="{7E9DDE9D-BE14-4F2F-B530-3883D1E41781}" dt="2021-05-26T06:38:41.655" v="384"/>
          <ac:spMkLst>
            <pc:docMk/>
            <pc:sldMk cId="2972339496" sldId="2218"/>
            <ac:spMk id="27" creationId="{BE7FA4F0-3C49-4DE0-BDCC-49225B7F31CF}"/>
          </ac:spMkLst>
        </pc:spChg>
        <pc:spChg chg="mod">
          <ac:chgData name="Aurelien Domont" userId="6da7715ce44349b3" providerId="LiveId" clId="{7E9DDE9D-BE14-4F2F-B530-3883D1E41781}" dt="2021-05-27T02:06:58.242" v="2340"/>
          <ac:spMkLst>
            <pc:docMk/>
            <pc:sldMk cId="2972339496" sldId="2218"/>
            <ac:spMk id="29" creationId="{EBEF7E50-77EE-4FFC-9C8F-5F1C532B51AE}"/>
          </ac:spMkLst>
        </pc:spChg>
      </pc:sldChg>
      <pc:sldChg chg="modSp add mod">
        <pc:chgData name="Aurelien Domont" userId="6da7715ce44349b3" providerId="LiveId" clId="{7E9DDE9D-BE14-4F2F-B530-3883D1E41781}" dt="2021-05-27T02:07:01.411" v="2341"/>
        <pc:sldMkLst>
          <pc:docMk/>
          <pc:sldMk cId="424117394" sldId="2219"/>
        </pc:sldMkLst>
        <pc:spChg chg="mod">
          <ac:chgData name="Aurelien Domont" userId="6da7715ce44349b3" providerId="LiveId" clId="{7E9DDE9D-BE14-4F2F-B530-3883D1E41781}" dt="2021-05-26T06:22:42.537" v="344" actId="1035"/>
          <ac:spMkLst>
            <pc:docMk/>
            <pc:sldMk cId="424117394" sldId="2219"/>
            <ac:spMk id="15" creationId="{5BA9C11D-1808-497E-AA49-38C8D2F7AC72}"/>
          </ac:spMkLst>
        </pc:spChg>
        <pc:spChg chg="mod">
          <ac:chgData name="Aurelien Domont" userId="6da7715ce44349b3" providerId="LiveId" clId="{7E9DDE9D-BE14-4F2F-B530-3883D1E41781}" dt="2021-05-26T06:22:50.299" v="348" actId="20577"/>
          <ac:spMkLst>
            <pc:docMk/>
            <pc:sldMk cId="424117394" sldId="2219"/>
            <ac:spMk id="16" creationId="{6C2BB713-9637-4B9B-938F-E9768876782A}"/>
          </ac:spMkLst>
        </pc:spChg>
        <pc:spChg chg="mod">
          <ac:chgData name="Aurelien Domont" userId="6da7715ce44349b3" providerId="LiveId" clId="{7E9DDE9D-BE14-4F2F-B530-3883D1E41781}" dt="2021-05-26T06:38:41.655" v="384"/>
          <ac:spMkLst>
            <pc:docMk/>
            <pc:sldMk cId="424117394" sldId="2219"/>
            <ac:spMk id="27" creationId="{BE7FA4F0-3C49-4DE0-BDCC-49225B7F31CF}"/>
          </ac:spMkLst>
        </pc:spChg>
        <pc:spChg chg="mod">
          <ac:chgData name="Aurelien Domont" userId="6da7715ce44349b3" providerId="LiveId" clId="{7E9DDE9D-BE14-4F2F-B530-3883D1E41781}" dt="2021-05-27T02:07:01.411" v="2341"/>
          <ac:spMkLst>
            <pc:docMk/>
            <pc:sldMk cId="424117394" sldId="2219"/>
            <ac:spMk id="29" creationId="{EBEF7E50-77EE-4FFC-9C8F-5F1C532B51AE}"/>
          </ac:spMkLst>
        </pc:spChg>
      </pc:sldChg>
      <pc:sldChg chg="add">
        <pc:chgData name="Aurelien Domont" userId="6da7715ce44349b3" providerId="LiveId" clId="{7E9DDE9D-BE14-4F2F-B530-3883D1E41781}" dt="2021-05-26T06:34:51.708" v="349"/>
        <pc:sldMkLst>
          <pc:docMk/>
          <pc:sldMk cId="4026207615" sldId="2220"/>
        </pc:sldMkLst>
      </pc:sldChg>
      <pc:sldChg chg="add">
        <pc:chgData name="Aurelien Domont" userId="6da7715ce44349b3" providerId="LiveId" clId="{7E9DDE9D-BE14-4F2F-B530-3883D1E41781}" dt="2021-05-26T06:34:51.708" v="349"/>
        <pc:sldMkLst>
          <pc:docMk/>
          <pc:sldMk cId="4272825816" sldId="2221"/>
        </pc:sldMkLst>
      </pc:sldChg>
      <pc:sldChg chg="modSp add mod">
        <pc:chgData name="Aurelien Domont" userId="6da7715ce44349b3" providerId="LiveId" clId="{7E9DDE9D-BE14-4F2F-B530-3883D1E41781}" dt="2021-05-27T02:07:05.943" v="2342"/>
        <pc:sldMkLst>
          <pc:docMk/>
          <pc:sldMk cId="282594511" sldId="2222"/>
        </pc:sldMkLst>
        <pc:spChg chg="mod">
          <ac:chgData name="Aurelien Domont" userId="6da7715ce44349b3" providerId="LiveId" clId="{7E9DDE9D-BE14-4F2F-B530-3883D1E41781}" dt="2021-05-26T06:35:03.068" v="373" actId="1035"/>
          <ac:spMkLst>
            <pc:docMk/>
            <pc:sldMk cId="282594511" sldId="2222"/>
            <ac:spMk id="15" creationId="{5BA9C11D-1808-497E-AA49-38C8D2F7AC72}"/>
          </ac:spMkLst>
        </pc:spChg>
        <pc:spChg chg="mod">
          <ac:chgData name="Aurelien Domont" userId="6da7715ce44349b3" providerId="LiveId" clId="{7E9DDE9D-BE14-4F2F-B530-3883D1E41781}" dt="2021-05-26T06:35:13.797" v="377" actId="20577"/>
          <ac:spMkLst>
            <pc:docMk/>
            <pc:sldMk cId="282594511" sldId="2222"/>
            <ac:spMk id="16" creationId="{6C2BB713-9637-4B9B-938F-E9768876782A}"/>
          </ac:spMkLst>
        </pc:spChg>
        <pc:spChg chg="mod">
          <ac:chgData name="Aurelien Domont" userId="6da7715ce44349b3" providerId="LiveId" clId="{7E9DDE9D-BE14-4F2F-B530-3883D1E41781}" dt="2021-05-26T06:38:41.655" v="384"/>
          <ac:spMkLst>
            <pc:docMk/>
            <pc:sldMk cId="282594511" sldId="2222"/>
            <ac:spMk id="27" creationId="{BE7FA4F0-3C49-4DE0-BDCC-49225B7F31CF}"/>
          </ac:spMkLst>
        </pc:spChg>
        <pc:spChg chg="mod">
          <ac:chgData name="Aurelien Domont" userId="6da7715ce44349b3" providerId="LiveId" clId="{7E9DDE9D-BE14-4F2F-B530-3883D1E41781}" dt="2021-05-27T02:07:05.943" v="2342"/>
          <ac:spMkLst>
            <pc:docMk/>
            <pc:sldMk cId="282594511" sldId="2222"/>
            <ac:spMk id="29" creationId="{EBEF7E50-77EE-4FFC-9C8F-5F1C532B51AE}"/>
          </ac:spMkLst>
        </pc:spChg>
      </pc:sldChg>
      <pc:sldChg chg="modSp add mod">
        <pc:chgData name="Aurelien Domont" userId="6da7715ce44349b3" providerId="LiveId" clId="{7E9DDE9D-BE14-4F2F-B530-3883D1E41781}" dt="2021-05-27T02:07:10.145" v="2343"/>
        <pc:sldMkLst>
          <pc:docMk/>
          <pc:sldMk cId="551405068" sldId="2223"/>
        </pc:sldMkLst>
        <pc:spChg chg="mod">
          <ac:chgData name="Aurelien Domont" userId="6da7715ce44349b3" providerId="LiveId" clId="{7E9DDE9D-BE14-4F2F-B530-3883D1E41781}" dt="2021-05-26T06:41:17.657" v="400" actId="1036"/>
          <ac:spMkLst>
            <pc:docMk/>
            <pc:sldMk cId="551405068" sldId="2223"/>
            <ac:spMk id="15" creationId="{5BA9C11D-1808-497E-AA49-38C8D2F7AC72}"/>
          </ac:spMkLst>
        </pc:spChg>
        <pc:spChg chg="mod">
          <ac:chgData name="Aurelien Domont" userId="6da7715ce44349b3" providerId="LiveId" clId="{7E9DDE9D-BE14-4F2F-B530-3883D1E41781}" dt="2021-05-26T06:51:31.045" v="590" actId="20577"/>
          <ac:spMkLst>
            <pc:docMk/>
            <pc:sldMk cId="551405068" sldId="2223"/>
            <ac:spMk id="16" creationId="{6C2BB713-9637-4B9B-938F-E9768876782A}"/>
          </ac:spMkLst>
        </pc:spChg>
        <pc:spChg chg="mod">
          <ac:chgData name="Aurelien Domont" userId="6da7715ce44349b3" providerId="LiveId" clId="{7E9DDE9D-BE14-4F2F-B530-3883D1E41781}" dt="2021-05-26T06:38:41.655" v="384"/>
          <ac:spMkLst>
            <pc:docMk/>
            <pc:sldMk cId="551405068" sldId="2223"/>
            <ac:spMk id="27" creationId="{BE7FA4F0-3C49-4DE0-BDCC-49225B7F31CF}"/>
          </ac:spMkLst>
        </pc:spChg>
        <pc:spChg chg="mod">
          <ac:chgData name="Aurelien Domont" userId="6da7715ce44349b3" providerId="LiveId" clId="{7E9DDE9D-BE14-4F2F-B530-3883D1E41781}" dt="2021-05-27T02:07:10.145" v="2343"/>
          <ac:spMkLst>
            <pc:docMk/>
            <pc:sldMk cId="551405068" sldId="2223"/>
            <ac:spMk id="29" creationId="{EBEF7E50-77EE-4FFC-9C8F-5F1C532B51AE}"/>
          </ac:spMkLst>
        </pc:spChg>
      </pc:sldChg>
      <pc:sldChg chg="addSp delSp modSp add mod">
        <pc:chgData name="Aurelien Domont" userId="6da7715ce44349b3" providerId="LiveId" clId="{7E9DDE9D-BE14-4F2F-B530-3883D1E41781}" dt="2021-05-26T06:50:51.829" v="587" actId="1076"/>
        <pc:sldMkLst>
          <pc:docMk/>
          <pc:sldMk cId="1547606376" sldId="2224"/>
        </pc:sldMkLst>
        <pc:spChg chg="del">
          <ac:chgData name="Aurelien Domont" userId="6da7715ce44349b3" providerId="LiveId" clId="{7E9DDE9D-BE14-4F2F-B530-3883D1E41781}" dt="2021-05-26T06:45:13.234" v="409" actId="478"/>
          <ac:spMkLst>
            <pc:docMk/>
            <pc:sldMk cId="1547606376" sldId="2224"/>
            <ac:spMk id="5" creationId="{D2F9367A-4F35-48FA-BFC1-F8BE5C865104}"/>
          </ac:spMkLst>
        </pc:spChg>
        <pc:spChg chg="mod">
          <ac:chgData name="Aurelien Domont" userId="6da7715ce44349b3" providerId="LiveId" clId="{7E9DDE9D-BE14-4F2F-B530-3883D1E41781}" dt="2021-05-26T06:46:25.579" v="579" actId="313"/>
          <ac:spMkLst>
            <pc:docMk/>
            <pc:sldMk cId="1547606376" sldId="2224"/>
            <ac:spMk id="14" creationId="{C9800183-F524-4412-AB39-A6E1A21FF0B3}"/>
          </ac:spMkLst>
        </pc:spChg>
        <pc:spChg chg="del">
          <ac:chgData name="Aurelien Domont" userId="6da7715ce44349b3" providerId="LiveId" clId="{7E9DDE9D-BE14-4F2F-B530-3883D1E41781}" dt="2021-05-26T06:45:13.234" v="409" actId="478"/>
          <ac:spMkLst>
            <pc:docMk/>
            <pc:sldMk cId="1547606376" sldId="2224"/>
            <ac:spMk id="37" creationId="{9F406AA9-5708-448B-9556-8855D4E0C7D4}"/>
          </ac:spMkLst>
        </pc:spChg>
        <pc:spChg chg="del">
          <ac:chgData name="Aurelien Domont" userId="6da7715ce44349b3" providerId="LiveId" clId="{7E9DDE9D-BE14-4F2F-B530-3883D1E41781}" dt="2021-05-26T06:45:13.234" v="409" actId="478"/>
          <ac:spMkLst>
            <pc:docMk/>
            <pc:sldMk cId="1547606376" sldId="2224"/>
            <ac:spMk id="61" creationId="{121E9487-0FC5-4CA5-B1C3-56E4B2CD1B1B}"/>
          </ac:spMkLst>
        </pc:spChg>
        <pc:spChg chg="del">
          <ac:chgData name="Aurelien Domont" userId="6da7715ce44349b3" providerId="LiveId" clId="{7E9DDE9D-BE14-4F2F-B530-3883D1E41781}" dt="2021-05-26T06:45:13.234" v="409" actId="478"/>
          <ac:spMkLst>
            <pc:docMk/>
            <pc:sldMk cId="1547606376" sldId="2224"/>
            <ac:spMk id="62" creationId="{459A7EDC-3335-4E06-ACCB-53511393B0EB}"/>
          </ac:spMkLst>
        </pc:spChg>
        <pc:spChg chg="del">
          <ac:chgData name="Aurelien Domont" userId="6da7715ce44349b3" providerId="LiveId" clId="{7E9DDE9D-BE14-4F2F-B530-3883D1E41781}" dt="2021-05-26T06:45:13.234" v="409" actId="478"/>
          <ac:spMkLst>
            <pc:docMk/>
            <pc:sldMk cId="1547606376" sldId="2224"/>
            <ac:spMk id="63" creationId="{64A8A594-172C-4CC2-B1B8-0C64661FB020}"/>
          </ac:spMkLst>
        </pc:spChg>
        <pc:spChg chg="del">
          <ac:chgData name="Aurelien Domont" userId="6da7715ce44349b3" providerId="LiveId" clId="{7E9DDE9D-BE14-4F2F-B530-3883D1E41781}" dt="2021-05-26T06:45:13.234" v="409" actId="478"/>
          <ac:spMkLst>
            <pc:docMk/>
            <pc:sldMk cId="1547606376" sldId="2224"/>
            <ac:spMk id="64" creationId="{E9D63E36-31A2-45E8-A16F-88A0ECFA34C3}"/>
          </ac:spMkLst>
        </pc:spChg>
        <pc:spChg chg="del">
          <ac:chgData name="Aurelien Domont" userId="6da7715ce44349b3" providerId="LiveId" clId="{7E9DDE9D-BE14-4F2F-B530-3883D1E41781}" dt="2021-05-26T06:45:13.234" v="409" actId="478"/>
          <ac:spMkLst>
            <pc:docMk/>
            <pc:sldMk cId="1547606376" sldId="2224"/>
            <ac:spMk id="65" creationId="{3426088E-F57E-478B-B892-338B4CCCB194}"/>
          </ac:spMkLst>
        </pc:spChg>
        <pc:spChg chg="del">
          <ac:chgData name="Aurelien Domont" userId="6da7715ce44349b3" providerId="LiveId" clId="{7E9DDE9D-BE14-4F2F-B530-3883D1E41781}" dt="2021-05-26T06:45:13.234" v="409" actId="478"/>
          <ac:spMkLst>
            <pc:docMk/>
            <pc:sldMk cId="1547606376" sldId="2224"/>
            <ac:spMk id="66" creationId="{A65CBD14-1A2C-48D9-A3E8-667211C6D315}"/>
          </ac:spMkLst>
        </pc:spChg>
        <pc:spChg chg="del">
          <ac:chgData name="Aurelien Domont" userId="6da7715ce44349b3" providerId="LiveId" clId="{7E9DDE9D-BE14-4F2F-B530-3883D1E41781}" dt="2021-05-26T06:45:13.234" v="409" actId="478"/>
          <ac:spMkLst>
            <pc:docMk/>
            <pc:sldMk cId="1547606376" sldId="2224"/>
            <ac:spMk id="68" creationId="{E5091C9F-1ED0-4CF8-9288-39C88128B2E4}"/>
          </ac:spMkLst>
        </pc:spChg>
        <pc:spChg chg="del">
          <ac:chgData name="Aurelien Domont" userId="6da7715ce44349b3" providerId="LiveId" clId="{7E9DDE9D-BE14-4F2F-B530-3883D1E41781}" dt="2021-05-26T06:45:13.234" v="409" actId="478"/>
          <ac:spMkLst>
            <pc:docMk/>
            <pc:sldMk cId="1547606376" sldId="2224"/>
            <ac:spMk id="69" creationId="{612B6263-96F9-4E60-8318-13BD87AE1618}"/>
          </ac:spMkLst>
        </pc:spChg>
        <pc:spChg chg="del">
          <ac:chgData name="Aurelien Domont" userId="6da7715ce44349b3" providerId="LiveId" clId="{7E9DDE9D-BE14-4F2F-B530-3883D1E41781}" dt="2021-05-26T06:45:13.234" v="409" actId="478"/>
          <ac:spMkLst>
            <pc:docMk/>
            <pc:sldMk cId="1547606376" sldId="2224"/>
            <ac:spMk id="70" creationId="{FFF2EA74-4D1E-4A6F-9627-AF2FEF416D02}"/>
          </ac:spMkLst>
        </pc:spChg>
        <pc:spChg chg="del">
          <ac:chgData name="Aurelien Domont" userId="6da7715ce44349b3" providerId="LiveId" clId="{7E9DDE9D-BE14-4F2F-B530-3883D1E41781}" dt="2021-05-26T06:45:13.234" v="409" actId="478"/>
          <ac:spMkLst>
            <pc:docMk/>
            <pc:sldMk cId="1547606376" sldId="2224"/>
            <ac:spMk id="75" creationId="{7251B458-5687-43D6-8E27-8A038414DE76}"/>
          </ac:spMkLst>
        </pc:spChg>
        <pc:spChg chg="del">
          <ac:chgData name="Aurelien Domont" userId="6da7715ce44349b3" providerId="LiveId" clId="{7E9DDE9D-BE14-4F2F-B530-3883D1E41781}" dt="2021-05-26T06:45:13.234" v="409" actId="478"/>
          <ac:spMkLst>
            <pc:docMk/>
            <pc:sldMk cId="1547606376" sldId="2224"/>
            <ac:spMk id="76" creationId="{5EFCC52A-2E88-4D51-A026-C317E7D467AC}"/>
          </ac:spMkLst>
        </pc:spChg>
        <pc:spChg chg="del">
          <ac:chgData name="Aurelien Domont" userId="6da7715ce44349b3" providerId="LiveId" clId="{7E9DDE9D-BE14-4F2F-B530-3883D1E41781}" dt="2021-05-26T06:45:13.234" v="409" actId="478"/>
          <ac:spMkLst>
            <pc:docMk/>
            <pc:sldMk cId="1547606376" sldId="2224"/>
            <ac:spMk id="77" creationId="{790A6848-5DB1-43A4-8826-1B7C484DB6F4}"/>
          </ac:spMkLst>
        </pc:spChg>
        <pc:spChg chg="del">
          <ac:chgData name="Aurelien Domont" userId="6da7715ce44349b3" providerId="LiveId" clId="{7E9DDE9D-BE14-4F2F-B530-3883D1E41781}" dt="2021-05-26T06:45:13.234" v="409" actId="478"/>
          <ac:spMkLst>
            <pc:docMk/>
            <pc:sldMk cId="1547606376" sldId="2224"/>
            <ac:spMk id="80" creationId="{F5AD5F86-D940-4AE6-8814-558983F80595}"/>
          </ac:spMkLst>
        </pc:spChg>
        <pc:picChg chg="add mod">
          <ac:chgData name="Aurelien Domont" userId="6da7715ce44349b3" providerId="LiveId" clId="{7E9DDE9D-BE14-4F2F-B530-3883D1E41781}" dt="2021-05-26T06:50:51.829" v="587" actId="1076"/>
          <ac:picMkLst>
            <pc:docMk/>
            <pc:sldMk cId="1547606376" sldId="2224"/>
            <ac:picMk id="4" creationId="{36C4F2FB-BBD0-41D2-910C-0E4A77928283}"/>
          </ac:picMkLst>
        </pc:picChg>
        <pc:cxnChg chg="del">
          <ac:chgData name="Aurelien Domont" userId="6da7715ce44349b3" providerId="LiveId" clId="{7E9DDE9D-BE14-4F2F-B530-3883D1E41781}" dt="2021-05-26T06:45:13.234" v="409" actId="478"/>
          <ac:cxnSpMkLst>
            <pc:docMk/>
            <pc:sldMk cId="1547606376" sldId="2224"/>
            <ac:cxnSpMk id="34" creationId="{833806C2-7E15-4C8C-AC2E-FB258DA45F79}"/>
          </ac:cxnSpMkLst>
        </pc:cxnChg>
      </pc:sldChg>
      <pc:sldChg chg="modSp add mod">
        <pc:chgData name="Aurelien Domont" userId="6da7715ce44349b3" providerId="LiveId" clId="{7E9DDE9D-BE14-4F2F-B530-3883D1E41781}" dt="2021-05-27T02:07:14.170" v="2344"/>
        <pc:sldMkLst>
          <pc:docMk/>
          <pc:sldMk cId="1940755133" sldId="2225"/>
        </pc:sldMkLst>
        <pc:spChg chg="mod">
          <ac:chgData name="Aurelien Domont" userId="6da7715ce44349b3" providerId="LiveId" clId="{7E9DDE9D-BE14-4F2F-B530-3883D1E41781}" dt="2021-05-26T06:51:45.606" v="612" actId="1035"/>
          <ac:spMkLst>
            <pc:docMk/>
            <pc:sldMk cId="1940755133" sldId="2225"/>
            <ac:spMk id="15" creationId="{5BA9C11D-1808-497E-AA49-38C8D2F7AC72}"/>
          </ac:spMkLst>
        </pc:spChg>
        <pc:spChg chg="mod">
          <ac:chgData name="Aurelien Domont" userId="6da7715ce44349b3" providerId="LiveId" clId="{7E9DDE9D-BE14-4F2F-B530-3883D1E41781}" dt="2021-05-26T06:51:41.535" v="594" actId="20577"/>
          <ac:spMkLst>
            <pc:docMk/>
            <pc:sldMk cId="1940755133" sldId="2225"/>
            <ac:spMk id="16" creationId="{6C2BB713-9637-4B9B-938F-E9768876782A}"/>
          </ac:spMkLst>
        </pc:spChg>
        <pc:spChg chg="mod">
          <ac:chgData name="Aurelien Domont" userId="6da7715ce44349b3" providerId="LiveId" clId="{7E9DDE9D-BE14-4F2F-B530-3883D1E41781}" dt="2021-05-27T02:07:14.170" v="2344"/>
          <ac:spMkLst>
            <pc:docMk/>
            <pc:sldMk cId="1940755133" sldId="2225"/>
            <ac:spMk id="29" creationId="{EBEF7E50-77EE-4FFC-9C8F-5F1C532B51AE}"/>
          </ac:spMkLst>
        </pc:spChg>
      </pc:sldChg>
      <pc:sldChg chg="modSp add mod">
        <pc:chgData name="Aurelien Domont" userId="6da7715ce44349b3" providerId="LiveId" clId="{7E9DDE9D-BE14-4F2F-B530-3883D1E41781}" dt="2021-05-27T02:07:18.853" v="2345"/>
        <pc:sldMkLst>
          <pc:docMk/>
          <pc:sldMk cId="442511861" sldId="2226"/>
        </pc:sldMkLst>
        <pc:spChg chg="mod">
          <ac:chgData name="Aurelien Domont" userId="6da7715ce44349b3" providerId="LiveId" clId="{7E9DDE9D-BE14-4F2F-B530-3883D1E41781}" dt="2021-05-26T06:52:44.852" v="640" actId="1035"/>
          <ac:spMkLst>
            <pc:docMk/>
            <pc:sldMk cId="442511861" sldId="2226"/>
            <ac:spMk id="15" creationId="{5BA9C11D-1808-497E-AA49-38C8D2F7AC72}"/>
          </ac:spMkLst>
        </pc:spChg>
        <pc:spChg chg="mod">
          <ac:chgData name="Aurelien Domont" userId="6da7715ce44349b3" providerId="LiveId" clId="{7E9DDE9D-BE14-4F2F-B530-3883D1E41781}" dt="2021-05-26T06:52:37.585" v="618" actId="20577"/>
          <ac:spMkLst>
            <pc:docMk/>
            <pc:sldMk cId="442511861" sldId="2226"/>
            <ac:spMk id="16" creationId="{6C2BB713-9637-4B9B-938F-E9768876782A}"/>
          </ac:spMkLst>
        </pc:spChg>
        <pc:spChg chg="mod">
          <ac:chgData name="Aurelien Domont" userId="6da7715ce44349b3" providerId="LiveId" clId="{7E9DDE9D-BE14-4F2F-B530-3883D1E41781}" dt="2021-05-27T02:07:18.853" v="2345"/>
          <ac:spMkLst>
            <pc:docMk/>
            <pc:sldMk cId="442511861" sldId="2226"/>
            <ac:spMk id="29" creationId="{EBEF7E50-77EE-4FFC-9C8F-5F1C532B51AE}"/>
          </ac:spMkLst>
        </pc:spChg>
      </pc:sldChg>
      <pc:sldChg chg="modSp add mod">
        <pc:chgData name="Aurelien Domont" userId="6da7715ce44349b3" providerId="LiveId" clId="{7E9DDE9D-BE14-4F2F-B530-3883D1E41781}" dt="2021-05-27T02:07:24.596" v="2346"/>
        <pc:sldMkLst>
          <pc:docMk/>
          <pc:sldMk cId="1903717563" sldId="2227"/>
        </pc:sldMkLst>
        <pc:spChg chg="mod">
          <ac:chgData name="Aurelien Domont" userId="6da7715ce44349b3" providerId="LiveId" clId="{7E9DDE9D-BE14-4F2F-B530-3883D1E41781}" dt="2021-05-26T06:53:20.105" v="661" actId="1036"/>
          <ac:spMkLst>
            <pc:docMk/>
            <pc:sldMk cId="1903717563" sldId="2227"/>
            <ac:spMk id="15" creationId="{5BA9C11D-1808-497E-AA49-38C8D2F7AC72}"/>
          </ac:spMkLst>
        </pc:spChg>
        <pc:spChg chg="mod">
          <ac:chgData name="Aurelien Domont" userId="6da7715ce44349b3" providerId="LiveId" clId="{7E9DDE9D-BE14-4F2F-B530-3883D1E41781}" dt="2021-05-26T06:53:16.158" v="646" actId="20577"/>
          <ac:spMkLst>
            <pc:docMk/>
            <pc:sldMk cId="1903717563" sldId="2227"/>
            <ac:spMk id="16" creationId="{6C2BB713-9637-4B9B-938F-E9768876782A}"/>
          </ac:spMkLst>
        </pc:spChg>
        <pc:spChg chg="mod">
          <ac:chgData name="Aurelien Domont" userId="6da7715ce44349b3" providerId="LiveId" clId="{7E9DDE9D-BE14-4F2F-B530-3883D1E41781}" dt="2021-05-27T02:07:24.596" v="2346"/>
          <ac:spMkLst>
            <pc:docMk/>
            <pc:sldMk cId="1903717563" sldId="2227"/>
            <ac:spMk id="29" creationId="{EBEF7E50-77EE-4FFC-9C8F-5F1C532B51AE}"/>
          </ac:spMkLst>
        </pc:spChg>
      </pc:sldChg>
      <pc:sldChg chg="modSp add mod">
        <pc:chgData name="Aurelien Domont" userId="6da7715ce44349b3" providerId="LiveId" clId="{7E9DDE9D-BE14-4F2F-B530-3883D1E41781}" dt="2021-05-27T02:07:29.642" v="2347"/>
        <pc:sldMkLst>
          <pc:docMk/>
          <pc:sldMk cId="2961597679" sldId="2228"/>
        </pc:sldMkLst>
        <pc:spChg chg="mod">
          <ac:chgData name="Aurelien Domont" userId="6da7715ce44349b3" providerId="LiveId" clId="{7E9DDE9D-BE14-4F2F-B530-3883D1E41781}" dt="2021-05-26T06:56:38.021" v="727" actId="1036"/>
          <ac:spMkLst>
            <pc:docMk/>
            <pc:sldMk cId="2961597679" sldId="2228"/>
            <ac:spMk id="15" creationId="{5BA9C11D-1808-497E-AA49-38C8D2F7AC72}"/>
          </ac:spMkLst>
        </pc:spChg>
        <pc:spChg chg="mod">
          <ac:chgData name="Aurelien Domont" userId="6da7715ce44349b3" providerId="LiveId" clId="{7E9DDE9D-BE14-4F2F-B530-3883D1E41781}" dt="2021-05-26T06:56:47.887" v="731" actId="20577"/>
          <ac:spMkLst>
            <pc:docMk/>
            <pc:sldMk cId="2961597679" sldId="2228"/>
            <ac:spMk id="16" creationId="{6C2BB713-9637-4B9B-938F-E9768876782A}"/>
          </ac:spMkLst>
        </pc:spChg>
        <pc:spChg chg="mod">
          <ac:chgData name="Aurelien Domont" userId="6da7715ce44349b3" providerId="LiveId" clId="{7E9DDE9D-BE14-4F2F-B530-3883D1E41781}" dt="2021-05-27T02:07:29.642" v="2347"/>
          <ac:spMkLst>
            <pc:docMk/>
            <pc:sldMk cId="2961597679" sldId="2228"/>
            <ac:spMk id="29" creationId="{EBEF7E50-77EE-4FFC-9C8F-5F1C532B51AE}"/>
          </ac:spMkLst>
        </pc:spChg>
      </pc:sldChg>
      <pc:sldChg chg="addSp delSp modSp add mod">
        <pc:chgData name="Aurelien Domont" userId="6da7715ce44349b3" providerId="LiveId" clId="{7E9DDE9D-BE14-4F2F-B530-3883D1E41781}" dt="2021-05-26T08:00:18.163" v="2181" actId="14100"/>
        <pc:sldMkLst>
          <pc:docMk/>
          <pc:sldMk cId="3918513984" sldId="2229"/>
        </pc:sldMkLst>
        <pc:spChg chg="add mod">
          <ac:chgData name="Aurelien Domont" userId="6da7715ce44349b3" providerId="LiveId" clId="{7E9DDE9D-BE14-4F2F-B530-3883D1E41781}" dt="2021-05-26T08:00:18.163" v="2181" actId="14100"/>
          <ac:spMkLst>
            <pc:docMk/>
            <pc:sldMk cId="3918513984" sldId="2229"/>
            <ac:spMk id="7" creationId="{F2A2BA13-1B90-4761-A53C-2BE90148D2BE}"/>
          </ac:spMkLst>
        </pc:spChg>
        <pc:spChg chg="add mod">
          <ac:chgData name="Aurelien Domont" userId="6da7715ce44349b3" providerId="LiveId" clId="{7E9DDE9D-BE14-4F2F-B530-3883D1E41781}" dt="2021-05-26T07:07:21.682" v="1221" actId="1038"/>
          <ac:spMkLst>
            <pc:docMk/>
            <pc:sldMk cId="3918513984" sldId="2229"/>
            <ac:spMk id="8" creationId="{CF696C1F-7D9A-4393-B8EC-243C4F9E8CDA}"/>
          </ac:spMkLst>
        </pc:spChg>
        <pc:spChg chg="del">
          <ac:chgData name="Aurelien Domont" userId="6da7715ce44349b3" providerId="LiveId" clId="{7E9DDE9D-BE14-4F2F-B530-3883D1E41781}" dt="2021-05-26T06:58:49.245" v="939" actId="478"/>
          <ac:spMkLst>
            <pc:docMk/>
            <pc:sldMk cId="3918513984" sldId="2229"/>
            <ac:spMk id="12" creationId="{3C14A528-296C-425A-872F-0E6E21C43B58}"/>
          </ac:spMkLst>
        </pc:spChg>
        <pc:spChg chg="del">
          <ac:chgData name="Aurelien Domont" userId="6da7715ce44349b3" providerId="LiveId" clId="{7E9DDE9D-BE14-4F2F-B530-3883D1E41781}" dt="2021-05-26T06:58:49.245" v="939" actId="478"/>
          <ac:spMkLst>
            <pc:docMk/>
            <pc:sldMk cId="3918513984" sldId="2229"/>
            <ac:spMk id="14" creationId="{9A8AA596-7E71-40C9-9C93-E069E754C8D7}"/>
          </ac:spMkLst>
        </pc:spChg>
        <pc:spChg chg="del">
          <ac:chgData name="Aurelien Domont" userId="6da7715ce44349b3" providerId="LiveId" clId="{7E9DDE9D-BE14-4F2F-B530-3883D1E41781}" dt="2021-05-26T06:58:49.245" v="939" actId="478"/>
          <ac:spMkLst>
            <pc:docMk/>
            <pc:sldMk cId="3918513984" sldId="2229"/>
            <ac:spMk id="15" creationId="{0B338AC3-37CE-4694-BE16-F2C1B29DE464}"/>
          </ac:spMkLst>
        </pc:spChg>
        <pc:spChg chg="add mod">
          <ac:chgData name="Aurelien Domont" userId="6da7715ce44349b3" providerId="LiveId" clId="{7E9DDE9D-BE14-4F2F-B530-3883D1E41781}" dt="2021-05-26T07:44:22.635" v="1723" actId="20577"/>
          <ac:spMkLst>
            <pc:docMk/>
            <pc:sldMk cId="3918513984" sldId="2229"/>
            <ac:spMk id="15" creationId="{D6D1E240-7190-4F4B-B23F-4451494CA83A}"/>
          </ac:spMkLst>
        </pc:spChg>
        <pc:spChg chg="mod">
          <ac:chgData name="Aurelien Domont" userId="6da7715ce44349b3" providerId="LiveId" clId="{7E9DDE9D-BE14-4F2F-B530-3883D1E41781}" dt="2021-05-26T07:05:14.478" v="1098" actId="27636"/>
          <ac:spMkLst>
            <pc:docMk/>
            <pc:sldMk cId="3918513984" sldId="2229"/>
            <ac:spMk id="16" creationId="{6C2BB713-9637-4B9B-938F-E9768876782A}"/>
          </ac:spMkLst>
        </pc:spChg>
        <pc:spChg chg="del">
          <ac:chgData name="Aurelien Domont" userId="6da7715ce44349b3" providerId="LiveId" clId="{7E9DDE9D-BE14-4F2F-B530-3883D1E41781}" dt="2021-05-26T06:58:49.245" v="939" actId="478"/>
          <ac:spMkLst>
            <pc:docMk/>
            <pc:sldMk cId="3918513984" sldId="2229"/>
            <ac:spMk id="17" creationId="{C62C8ABE-E3BC-4082-B726-C84E1F9D2EEE}"/>
          </ac:spMkLst>
        </pc:spChg>
        <pc:spChg chg="del">
          <ac:chgData name="Aurelien Domont" userId="6da7715ce44349b3" providerId="LiveId" clId="{7E9DDE9D-BE14-4F2F-B530-3883D1E41781}" dt="2021-05-26T06:58:49.245" v="939" actId="478"/>
          <ac:spMkLst>
            <pc:docMk/>
            <pc:sldMk cId="3918513984" sldId="2229"/>
            <ac:spMk id="18" creationId="{A6BC1349-930D-47B2-BC5A-84674194B9B4}"/>
          </ac:spMkLst>
        </pc:spChg>
        <pc:spChg chg="del">
          <ac:chgData name="Aurelien Domont" userId="6da7715ce44349b3" providerId="LiveId" clId="{7E9DDE9D-BE14-4F2F-B530-3883D1E41781}" dt="2021-05-26T06:58:49.245" v="939" actId="478"/>
          <ac:spMkLst>
            <pc:docMk/>
            <pc:sldMk cId="3918513984" sldId="2229"/>
            <ac:spMk id="19" creationId="{DE9F7193-0EA9-41B3-B6AB-28E5C3C50285}"/>
          </ac:spMkLst>
        </pc:spChg>
        <pc:spChg chg="del">
          <ac:chgData name="Aurelien Domont" userId="6da7715ce44349b3" providerId="LiveId" clId="{7E9DDE9D-BE14-4F2F-B530-3883D1E41781}" dt="2021-05-26T06:58:49.245" v="939" actId="478"/>
          <ac:spMkLst>
            <pc:docMk/>
            <pc:sldMk cId="3918513984" sldId="2229"/>
            <ac:spMk id="20" creationId="{9E568D6A-A3C8-41EF-8799-9B723819E568}"/>
          </ac:spMkLst>
        </pc:spChg>
        <pc:spChg chg="del">
          <ac:chgData name="Aurelien Domont" userId="6da7715ce44349b3" providerId="LiveId" clId="{7E9DDE9D-BE14-4F2F-B530-3883D1E41781}" dt="2021-05-26T06:58:49.245" v="939" actId="478"/>
          <ac:spMkLst>
            <pc:docMk/>
            <pc:sldMk cId="3918513984" sldId="2229"/>
            <ac:spMk id="21" creationId="{7104AA12-F706-4F44-87F6-1B7F0090E61B}"/>
          </ac:spMkLst>
        </pc:spChg>
        <pc:spChg chg="add mod">
          <ac:chgData name="Aurelien Domont" userId="6da7715ce44349b3" providerId="LiveId" clId="{7E9DDE9D-BE14-4F2F-B530-3883D1E41781}" dt="2021-05-26T07:07:21.682" v="1221" actId="1038"/>
          <ac:spMkLst>
            <pc:docMk/>
            <pc:sldMk cId="3918513984" sldId="2229"/>
            <ac:spMk id="22" creationId="{DD70618B-B3ED-4136-87BF-40A30B157497}"/>
          </ac:spMkLst>
        </pc:spChg>
        <pc:spChg chg="add mod">
          <ac:chgData name="Aurelien Domont" userId="6da7715ce44349b3" providerId="LiveId" clId="{7E9DDE9D-BE14-4F2F-B530-3883D1E41781}" dt="2021-05-26T07:07:21.682" v="1221" actId="1038"/>
          <ac:spMkLst>
            <pc:docMk/>
            <pc:sldMk cId="3918513984" sldId="2229"/>
            <ac:spMk id="24" creationId="{BC0AE494-7D62-4154-9274-0A3F721AABE0}"/>
          </ac:spMkLst>
        </pc:spChg>
        <pc:spChg chg="del">
          <ac:chgData name="Aurelien Domont" userId="6da7715ce44349b3" providerId="LiveId" clId="{7E9DDE9D-BE14-4F2F-B530-3883D1E41781}" dt="2021-05-26T06:58:49.245" v="939" actId="478"/>
          <ac:spMkLst>
            <pc:docMk/>
            <pc:sldMk cId="3918513984" sldId="2229"/>
            <ac:spMk id="25" creationId="{C1ABB42F-0511-44C2-AFA7-6CC8240746A6}"/>
          </ac:spMkLst>
        </pc:spChg>
        <pc:spChg chg="del">
          <ac:chgData name="Aurelien Domont" userId="6da7715ce44349b3" providerId="LiveId" clId="{7E9DDE9D-BE14-4F2F-B530-3883D1E41781}" dt="2021-05-26T06:58:49.245" v="939" actId="478"/>
          <ac:spMkLst>
            <pc:docMk/>
            <pc:sldMk cId="3918513984" sldId="2229"/>
            <ac:spMk id="26" creationId="{4ED9C7C3-65E5-428F-817B-09158087CA6D}"/>
          </ac:spMkLst>
        </pc:spChg>
        <pc:spChg chg="add mod">
          <ac:chgData name="Aurelien Domont" userId="6da7715ce44349b3" providerId="LiveId" clId="{7E9DDE9D-BE14-4F2F-B530-3883D1E41781}" dt="2021-05-26T07:07:21.682" v="1221" actId="1038"/>
          <ac:spMkLst>
            <pc:docMk/>
            <pc:sldMk cId="3918513984" sldId="2229"/>
            <ac:spMk id="27" creationId="{A0515D8F-112D-44B5-A46A-CF3139513AAD}"/>
          </ac:spMkLst>
        </pc:spChg>
        <pc:spChg chg="add mod">
          <ac:chgData name="Aurelien Domont" userId="6da7715ce44349b3" providerId="LiveId" clId="{7E9DDE9D-BE14-4F2F-B530-3883D1E41781}" dt="2021-05-26T07:11:41.260" v="1353" actId="20577"/>
          <ac:spMkLst>
            <pc:docMk/>
            <pc:sldMk cId="3918513984" sldId="2229"/>
            <ac:spMk id="30" creationId="{197C1967-733E-4FA1-8E8D-ECC4F3144409}"/>
          </ac:spMkLst>
        </pc:spChg>
        <pc:picChg chg="add mod">
          <ac:chgData name="Aurelien Domont" userId="6da7715ce44349b3" providerId="LiveId" clId="{7E9DDE9D-BE14-4F2F-B530-3883D1E41781}" dt="2021-05-26T07:07:21.682" v="1221" actId="1038"/>
          <ac:picMkLst>
            <pc:docMk/>
            <pc:sldMk cId="3918513984" sldId="2229"/>
            <ac:picMk id="4" creationId="{FD6B05A6-9206-4FDB-9FC4-F2ECE585FE5B}"/>
          </ac:picMkLst>
        </pc:picChg>
        <pc:picChg chg="add mod">
          <ac:chgData name="Aurelien Domont" userId="6da7715ce44349b3" providerId="LiveId" clId="{7E9DDE9D-BE14-4F2F-B530-3883D1E41781}" dt="2021-05-26T07:07:21.682" v="1221" actId="1038"/>
          <ac:picMkLst>
            <pc:docMk/>
            <pc:sldMk cId="3918513984" sldId="2229"/>
            <ac:picMk id="6" creationId="{37DDACA4-3CA6-4521-A5D1-5C37132E3449}"/>
          </ac:picMkLst>
        </pc:picChg>
        <pc:picChg chg="add mod">
          <ac:chgData name="Aurelien Domont" userId="6da7715ce44349b3" providerId="LiveId" clId="{7E9DDE9D-BE14-4F2F-B530-3883D1E41781}" dt="2021-05-26T07:07:21.682" v="1221" actId="1038"/>
          <ac:picMkLst>
            <pc:docMk/>
            <pc:sldMk cId="3918513984" sldId="2229"/>
            <ac:picMk id="23" creationId="{75215CBC-890C-4104-94B0-E1534EA6646A}"/>
          </ac:picMkLst>
        </pc:picChg>
        <pc:cxnChg chg="add del mod">
          <ac:chgData name="Aurelien Domont" userId="6da7715ce44349b3" providerId="LiveId" clId="{7E9DDE9D-BE14-4F2F-B530-3883D1E41781}" dt="2021-05-26T07:06:27.651" v="1200" actId="11529"/>
          <ac:cxnSpMkLst>
            <pc:docMk/>
            <pc:sldMk cId="3918513984" sldId="2229"/>
            <ac:cxnSpMk id="10" creationId="{CA6FB951-94EE-47B3-AA32-0DDED128AB0E}"/>
          </ac:cxnSpMkLst>
        </pc:cxnChg>
        <pc:cxnChg chg="add mod">
          <ac:chgData name="Aurelien Domont" userId="6da7715ce44349b3" providerId="LiveId" clId="{7E9DDE9D-BE14-4F2F-B530-3883D1E41781}" dt="2021-05-26T07:07:21.682" v="1221" actId="1038"/>
          <ac:cxnSpMkLst>
            <pc:docMk/>
            <pc:sldMk cId="3918513984" sldId="2229"/>
            <ac:cxnSpMk id="28" creationId="{6E25EDCC-704A-44DF-90CC-2716A0159B28}"/>
          </ac:cxnSpMkLst>
        </pc:cxnChg>
      </pc:sldChg>
      <pc:sldChg chg="modSp add mod">
        <pc:chgData name="Aurelien Domont" userId="6da7715ce44349b3" providerId="LiveId" clId="{7E9DDE9D-BE14-4F2F-B530-3883D1E41781}" dt="2021-05-26T07:34:46.793" v="1416" actId="20577"/>
        <pc:sldMkLst>
          <pc:docMk/>
          <pc:sldMk cId="506849499" sldId="2230"/>
        </pc:sldMkLst>
        <pc:spChg chg="mod">
          <ac:chgData name="Aurelien Domont" userId="6da7715ce44349b3" providerId="LiveId" clId="{7E9DDE9D-BE14-4F2F-B530-3883D1E41781}" dt="2021-05-26T07:34:46.793" v="1416" actId="20577"/>
          <ac:spMkLst>
            <pc:docMk/>
            <pc:sldMk cId="506849499" sldId="2230"/>
            <ac:spMk id="32" creationId="{17012342-6478-4AE0-9FAC-CC152BD2C90E}"/>
          </ac:spMkLst>
        </pc:spChg>
      </pc:sldChg>
      <pc:sldChg chg="add del">
        <pc:chgData name="Aurelien Domont" userId="6da7715ce44349b3" providerId="LiveId" clId="{7E9DDE9D-BE14-4F2F-B530-3883D1E41781}" dt="2021-05-26T07:23:30.003" v="1366" actId="47"/>
        <pc:sldMkLst>
          <pc:docMk/>
          <pc:sldMk cId="2045106032" sldId="2231"/>
        </pc:sldMkLst>
      </pc:sldChg>
      <pc:sldChg chg="add">
        <pc:chgData name="Aurelien Domont" userId="6da7715ce44349b3" providerId="LiveId" clId="{7E9DDE9D-BE14-4F2F-B530-3883D1E41781}" dt="2021-05-26T07:21:00.556" v="1364"/>
        <pc:sldMkLst>
          <pc:docMk/>
          <pc:sldMk cId="679090537" sldId="2232"/>
        </pc:sldMkLst>
      </pc:sldChg>
      <pc:sldChg chg="add">
        <pc:chgData name="Aurelien Domont" userId="6da7715ce44349b3" providerId="LiveId" clId="{7E9DDE9D-BE14-4F2F-B530-3883D1E41781}" dt="2021-05-26T07:23:25.697" v="1365"/>
        <pc:sldMkLst>
          <pc:docMk/>
          <pc:sldMk cId="2582080201" sldId="2233"/>
        </pc:sldMkLst>
      </pc:sldChg>
      <pc:sldChg chg="addSp delSp modSp add mod">
        <pc:chgData name="Aurelien Domont" userId="6da7715ce44349b3" providerId="LiveId" clId="{7E9DDE9D-BE14-4F2F-B530-3883D1E41781}" dt="2021-05-26T07:54:36.509" v="2165" actId="20577"/>
        <pc:sldMkLst>
          <pc:docMk/>
          <pc:sldMk cId="444295267" sldId="2234"/>
        </pc:sldMkLst>
        <pc:spChg chg="mod">
          <ac:chgData name="Aurelien Domont" userId="6da7715ce44349b3" providerId="LiveId" clId="{7E9DDE9D-BE14-4F2F-B530-3883D1E41781}" dt="2021-05-26T07:53:13.704" v="2003"/>
          <ac:spMkLst>
            <pc:docMk/>
            <pc:sldMk cId="444295267" sldId="2234"/>
            <ac:spMk id="16" creationId="{6C2BB713-9637-4B9B-938F-E9768876782A}"/>
          </ac:spMkLst>
        </pc:spChg>
        <pc:spChg chg="add del mod">
          <ac:chgData name="Aurelien Domont" userId="6da7715ce44349b3" providerId="LiveId" clId="{7E9DDE9D-BE14-4F2F-B530-3883D1E41781}" dt="2021-05-26T07:54:36.509" v="2165" actId="20577"/>
          <ac:spMkLst>
            <pc:docMk/>
            <pc:sldMk cId="444295267" sldId="2234"/>
            <ac:spMk id="18" creationId="{8ACDEB90-6C71-42BF-B918-E885D3A4952C}"/>
          </ac:spMkLst>
        </pc:spChg>
      </pc:sldChg>
      <pc:sldChg chg="addSp delSp modSp add mod">
        <pc:chgData name="Aurelien Domont" userId="6da7715ce44349b3" providerId="LiveId" clId="{7E9DDE9D-BE14-4F2F-B530-3883D1E41781}" dt="2021-05-26T07:53:03.678" v="2000" actId="20577"/>
        <pc:sldMkLst>
          <pc:docMk/>
          <pc:sldMk cId="4208125355" sldId="2235"/>
        </pc:sldMkLst>
        <pc:spChg chg="mod">
          <ac:chgData name="Aurelien Domont" userId="6da7715ce44349b3" providerId="LiveId" clId="{7E9DDE9D-BE14-4F2F-B530-3883D1E41781}" dt="2021-05-26T07:53:03.678" v="2000" actId="20577"/>
          <ac:spMkLst>
            <pc:docMk/>
            <pc:sldMk cId="4208125355" sldId="2235"/>
            <ac:spMk id="16" creationId="{6C2BB713-9637-4B9B-938F-E9768876782A}"/>
          </ac:spMkLst>
        </pc:spChg>
        <pc:spChg chg="add del mod">
          <ac:chgData name="Aurelien Domont" userId="6da7715ce44349b3" providerId="LiveId" clId="{7E9DDE9D-BE14-4F2F-B530-3883D1E41781}" dt="2021-05-26T07:40:55.456" v="1480" actId="478"/>
          <ac:spMkLst>
            <pc:docMk/>
            <pc:sldMk cId="4208125355" sldId="2235"/>
            <ac:spMk id="18" creationId="{C39B59D6-CB68-411B-9A84-336C739B4ED2}"/>
          </ac:spMkLst>
        </pc:spChg>
      </pc:sldChg>
      <pc:sldChg chg="addSp delSp modSp add mod">
        <pc:chgData name="Aurelien Domont" userId="6da7715ce44349b3" providerId="LiveId" clId="{7E9DDE9D-BE14-4F2F-B530-3883D1E41781}" dt="2021-05-26T07:52:59.989" v="1998" actId="20577"/>
        <pc:sldMkLst>
          <pc:docMk/>
          <pc:sldMk cId="125127010" sldId="2236"/>
        </pc:sldMkLst>
        <pc:spChg chg="mod">
          <ac:chgData name="Aurelien Domont" userId="6da7715ce44349b3" providerId="LiveId" clId="{7E9DDE9D-BE14-4F2F-B530-3883D1E41781}" dt="2021-05-26T07:52:59.989" v="1998" actId="20577"/>
          <ac:spMkLst>
            <pc:docMk/>
            <pc:sldMk cId="125127010" sldId="2236"/>
            <ac:spMk id="16" creationId="{6C2BB713-9637-4B9B-938F-E9768876782A}"/>
          </ac:spMkLst>
        </pc:spChg>
        <pc:spChg chg="add del mod">
          <ac:chgData name="Aurelien Domont" userId="6da7715ce44349b3" providerId="LiveId" clId="{7E9DDE9D-BE14-4F2F-B530-3883D1E41781}" dt="2021-05-26T07:40:57.911" v="1481" actId="478"/>
          <ac:spMkLst>
            <pc:docMk/>
            <pc:sldMk cId="125127010" sldId="2236"/>
            <ac:spMk id="18" creationId="{BD7E54D9-081A-4AB7-9DDA-5EEC31182C85}"/>
          </ac:spMkLst>
        </pc:spChg>
      </pc:sldChg>
      <pc:sldChg chg="addSp delSp modSp add mod">
        <pc:chgData name="Aurelien Domont" userId="6da7715ce44349b3" providerId="LiveId" clId="{7E9DDE9D-BE14-4F2F-B530-3883D1E41781}" dt="2021-05-26T07:52:56.185" v="1996" actId="20577"/>
        <pc:sldMkLst>
          <pc:docMk/>
          <pc:sldMk cId="1299098436" sldId="2237"/>
        </pc:sldMkLst>
        <pc:spChg chg="mod">
          <ac:chgData name="Aurelien Domont" userId="6da7715ce44349b3" providerId="LiveId" clId="{7E9DDE9D-BE14-4F2F-B530-3883D1E41781}" dt="2021-05-26T07:52:56.185" v="1996" actId="20577"/>
          <ac:spMkLst>
            <pc:docMk/>
            <pc:sldMk cId="1299098436" sldId="2237"/>
            <ac:spMk id="16" creationId="{6C2BB713-9637-4B9B-938F-E9768876782A}"/>
          </ac:spMkLst>
        </pc:spChg>
        <pc:spChg chg="add del mod">
          <ac:chgData name="Aurelien Domont" userId="6da7715ce44349b3" providerId="LiveId" clId="{7E9DDE9D-BE14-4F2F-B530-3883D1E41781}" dt="2021-05-26T07:40:59.992" v="1482" actId="478"/>
          <ac:spMkLst>
            <pc:docMk/>
            <pc:sldMk cId="1299098436" sldId="2237"/>
            <ac:spMk id="18" creationId="{629F377A-928F-40C6-98AF-365F2CF5B5F5}"/>
          </ac:spMkLst>
        </pc:spChg>
      </pc:sldChg>
      <pc:sldChg chg="modSp add mod">
        <pc:chgData name="Aurelien Domont" userId="6da7715ce44349b3" providerId="LiveId" clId="{7E9DDE9D-BE14-4F2F-B530-3883D1E41781}" dt="2021-05-27T02:06:53.917" v="2339"/>
        <pc:sldMkLst>
          <pc:docMk/>
          <pc:sldMk cId="678804434" sldId="2238"/>
        </pc:sldMkLst>
        <pc:spChg chg="mod">
          <ac:chgData name="Aurelien Domont" userId="6da7715ce44349b3" providerId="LiveId" clId="{7E9DDE9D-BE14-4F2F-B530-3883D1E41781}" dt="2021-05-27T02:06:53.917" v="2339"/>
          <ac:spMkLst>
            <pc:docMk/>
            <pc:sldMk cId="678804434" sldId="2238"/>
            <ac:spMk id="29" creationId="{EBEF7E50-77EE-4FFC-9C8F-5F1C532B51AE}"/>
          </ac:spMkLst>
        </pc:spChg>
      </pc:sldChg>
      <pc:sldChg chg="addSp delSp modSp add mod">
        <pc:chgData name="Aurelien Domont" userId="6da7715ce44349b3" providerId="LiveId" clId="{7E9DDE9D-BE14-4F2F-B530-3883D1E41781}" dt="2021-05-26T07:49:59.073" v="1969" actId="20577"/>
        <pc:sldMkLst>
          <pc:docMk/>
          <pc:sldMk cId="49722598" sldId="2239"/>
        </pc:sldMkLst>
        <pc:spChg chg="del">
          <ac:chgData name="Aurelien Domont" userId="6da7715ce44349b3" providerId="LiveId" clId="{7E9DDE9D-BE14-4F2F-B530-3883D1E41781}" dt="2021-05-26T07:47:30.576" v="1881" actId="478"/>
          <ac:spMkLst>
            <pc:docMk/>
            <pc:sldMk cId="49722598" sldId="2239"/>
            <ac:spMk id="9" creationId="{D5463A21-31C4-4173-877B-42E7BD310C1C}"/>
          </ac:spMkLst>
        </pc:spChg>
        <pc:spChg chg="del">
          <ac:chgData name="Aurelien Domont" userId="6da7715ce44349b3" providerId="LiveId" clId="{7E9DDE9D-BE14-4F2F-B530-3883D1E41781}" dt="2021-05-26T07:47:30.576" v="1881" actId="478"/>
          <ac:spMkLst>
            <pc:docMk/>
            <pc:sldMk cId="49722598" sldId="2239"/>
            <ac:spMk id="10" creationId="{5765D964-DA2F-4CEB-8768-579B9BC8B3BC}"/>
          </ac:spMkLst>
        </pc:spChg>
        <pc:spChg chg="del">
          <ac:chgData name="Aurelien Domont" userId="6da7715ce44349b3" providerId="LiveId" clId="{7E9DDE9D-BE14-4F2F-B530-3883D1E41781}" dt="2021-05-26T07:47:30.576" v="1881" actId="478"/>
          <ac:spMkLst>
            <pc:docMk/>
            <pc:sldMk cId="49722598" sldId="2239"/>
            <ac:spMk id="11" creationId="{E1C70AB8-9FFE-41FC-99CD-2350BAB70CE5}"/>
          </ac:spMkLst>
        </pc:spChg>
        <pc:spChg chg="del">
          <ac:chgData name="Aurelien Domont" userId="6da7715ce44349b3" providerId="LiveId" clId="{7E9DDE9D-BE14-4F2F-B530-3883D1E41781}" dt="2021-05-26T07:47:30.576" v="1881" actId="478"/>
          <ac:spMkLst>
            <pc:docMk/>
            <pc:sldMk cId="49722598" sldId="2239"/>
            <ac:spMk id="12" creationId="{84B728AA-59B9-4551-B6A8-23C3A838ABE8}"/>
          </ac:spMkLst>
        </pc:spChg>
        <pc:spChg chg="del">
          <ac:chgData name="Aurelien Domont" userId="6da7715ce44349b3" providerId="LiveId" clId="{7E9DDE9D-BE14-4F2F-B530-3883D1E41781}" dt="2021-05-26T07:47:30.576" v="1881" actId="478"/>
          <ac:spMkLst>
            <pc:docMk/>
            <pc:sldMk cId="49722598" sldId="2239"/>
            <ac:spMk id="14" creationId="{143B320D-B70F-4EBE-977A-3C8322274958}"/>
          </ac:spMkLst>
        </pc:spChg>
        <pc:spChg chg="del">
          <ac:chgData name="Aurelien Domont" userId="6da7715ce44349b3" providerId="LiveId" clId="{7E9DDE9D-BE14-4F2F-B530-3883D1E41781}" dt="2021-05-26T07:47:30.576" v="1881" actId="478"/>
          <ac:spMkLst>
            <pc:docMk/>
            <pc:sldMk cId="49722598" sldId="2239"/>
            <ac:spMk id="15" creationId="{5A2AB762-0E82-414D-AB35-6DB7F2F2818E}"/>
          </ac:spMkLst>
        </pc:spChg>
        <pc:spChg chg="mod">
          <ac:chgData name="Aurelien Domont" userId="6da7715ce44349b3" providerId="LiveId" clId="{7E9DDE9D-BE14-4F2F-B530-3883D1E41781}" dt="2021-05-26T07:49:59.073" v="1969" actId="20577"/>
          <ac:spMkLst>
            <pc:docMk/>
            <pc:sldMk cId="49722598" sldId="2239"/>
            <ac:spMk id="16" creationId="{6C2BB713-9637-4B9B-938F-E9768876782A}"/>
          </ac:spMkLst>
        </pc:spChg>
        <pc:spChg chg="del">
          <ac:chgData name="Aurelien Domont" userId="6da7715ce44349b3" providerId="LiveId" clId="{7E9DDE9D-BE14-4F2F-B530-3883D1E41781}" dt="2021-05-26T07:47:30.576" v="1881" actId="478"/>
          <ac:spMkLst>
            <pc:docMk/>
            <pc:sldMk cId="49722598" sldId="2239"/>
            <ac:spMk id="17" creationId="{4A38191B-556A-44F1-97C2-73FCC481A24F}"/>
          </ac:spMkLst>
        </pc:spChg>
        <pc:spChg chg="del">
          <ac:chgData name="Aurelien Domont" userId="6da7715ce44349b3" providerId="LiveId" clId="{7E9DDE9D-BE14-4F2F-B530-3883D1E41781}" dt="2021-05-26T07:47:30.576" v="1881" actId="478"/>
          <ac:spMkLst>
            <pc:docMk/>
            <pc:sldMk cId="49722598" sldId="2239"/>
            <ac:spMk id="18" creationId="{989C7DF5-C660-488D-955B-7BA46EFAC13B}"/>
          </ac:spMkLst>
        </pc:spChg>
        <pc:spChg chg="del">
          <ac:chgData name="Aurelien Domont" userId="6da7715ce44349b3" providerId="LiveId" clId="{7E9DDE9D-BE14-4F2F-B530-3883D1E41781}" dt="2021-05-26T07:47:30.576" v="1881" actId="478"/>
          <ac:spMkLst>
            <pc:docMk/>
            <pc:sldMk cId="49722598" sldId="2239"/>
            <ac:spMk id="19" creationId="{46D762F2-6149-471B-ABDA-13B89431288D}"/>
          </ac:spMkLst>
        </pc:spChg>
        <pc:spChg chg="del">
          <ac:chgData name="Aurelien Domont" userId="6da7715ce44349b3" providerId="LiveId" clId="{7E9DDE9D-BE14-4F2F-B530-3883D1E41781}" dt="2021-05-26T07:47:30.576" v="1881" actId="478"/>
          <ac:spMkLst>
            <pc:docMk/>
            <pc:sldMk cId="49722598" sldId="2239"/>
            <ac:spMk id="20" creationId="{01C56BC4-2230-40CB-8E0A-7CC058C23716}"/>
          </ac:spMkLst>
        </pc:spChg>
        <pc:spChg chg="del">
          <ac:chgData name="Aurelien Domont" userId="6da7715ce44349b3" providerId="LiveId" clId="{7E9DDE9D-BE14-4F2F-B530-3883D1E41781}" dt="2021-05-26T07:47:30.576" v="1881" actId="478"/>
          <ac:spMkLst>
            <pc:docMk/>
            <pc:sldMk cId="49722598" sldId="2239"/>
            <ac:spMk id="21" creationId="{9447280D-63E7-4554-B736-020C81697181}"/>
          </ac:spMkLst>
        </pc:spChg>
        <pc:spChg chg="del">
          <ac:chgData name="Aurelien Domont" userId="6da7715ce44349b3" providerId="LiveId" clId="{7E9DDE9D-BE14-4F2F-B530-3883D1E41781}" dt="2021-05-26T07:47:30.576" v="1881" actId="478"/>
          <ac:spMkLst>
            <pc:docMk/>
            <pc:sldMk cId="49722598" sldId="2239"/>
            <ac:spMk id="22" creationId="{D29EF4E6-8138-48C0-B447-C491AC730151}"/>
          </ac:spMkLst>
        </pc:spChg>
        <pc:spChg chg="del">
          <ac:chgData name="Aurelien Domont" userId="6da7715ce44349b3" providerId="LiveId" clId="{7E9DDE9D-BE14-4F2F-B530-3883D1E41781}" dt="2021-05-26T07:47:30.576" v="1881" actId="478"/>
          <ac:spMkLst>
            <pc:docMk/>
            <pc:sldMk cId="49722598" sldId="2239"/>
            <ac:spMk id="23" creationId="{0137E399-2AB4-48F0-9040-9368AC11FF59}"/>
          </ac:spMkLst>
        </pc:spChg>
        <pc:spChg chg="del">
          <ac:chgData name="Aurelien Domont" userId="6da7715ce44349b3" providerId="LiveId" clId="{7E9DDE9D-BE14-4F2F-B530-3883D1E41781}" dt="2021-05-26T07:47:30.576" v="1881" actId="478"/>
          <ac:spMkLst>
            <pc:docMk/>
            <pc:sldMk cId="49722598" sldId="2239"/>
            <ac:spMk id="24" creationId="{72704127-F906-4248-B441-34BB96968A39}"/>
          </ac:spMkLst>
        </pc:spChg>
        <pc:spChg chg="del">
          <ac:chgData name="Aurelien Domont" userId="6da7715ce44349b3" providerId="LiveId" clId="{7E9DDE9D-BE14-4F2F-B530-3883D1E41781}" dt="2021-05-26T07:47:30.576" v="1881" actId="478"/>
          <ac:spMkLst>
            <pc:docMk/>
            <pc:sldMk cId="49722598" sldId="2239"/>
            <ac:spMk id="25" creationId="{3B9E8EC0-4BB1-4624-A1FB-14823C0AA4F7}"/>
          </ac:spMkLst>
        </pc:spChg>
        <pc:spChg chg="del">
          <ac:chgData name="Aurelien Domont" userId="6da7715ce44349b3" providerId="LiveId" clId="{7E9DDE9D-BE14-4F2F-B530-3883D1E41781}" dt="2021-05-26T07:47:30.576" v="1881" actId="478"/>
          <ac:spMkLst>
            <pc:docMk/>
            <pc:sldMk cId="49722598" sldId="2239"/>
            <ac:spMk id="26" creationId="{7A2922B8-D97B-4D6B-94BA-01D2949297DB}"/>
          </ac:spMkLst>
        </pc:spChg>
        <pc:spChg chg="del">
          <ac:chgData name="Aurelien Domont" userId="6da7715ce44349b3" providerId="LiveId" clId="{7E9DDE9D-BE14-4F2F-B530-3883D1E41781}" dt="2021-05-26T07:47:30.576" v="1881" actId="478"/>
          <ac:spMkLst>
            <pc:docMk/>
            <pc:sldMk cId="49722598" sldId="2239"/>
            <ac:spMk id="27" creationId="{1E61DCB9-C8D2-4076-98E6-3BF6D35F87B0}"/>
          </ac:spMkLst>
        </pc:spChg>
        <pc:spChg chg="del">
          <ac:chgData name="Aurelien Domont" userId="6da7715ce44349b3" providerId="LiveId" clId="{7E9DDE9D-BE14-4F2F-B530-3883D1E41781}" dt="2021-05-26T07:47:30.576" v="1881" actId="478"/>
          <ac:spMkLst>
            <pc:docMk/>
            <pc:sldMk cId="49722598" sldId="2239"/>
            <ac:spMk id="28" creationId="{7724EA76-9AE3-4024-95ED-77D8AEC00475}"/>
          </ac:spMkLst>
        </pc:spChg>
        <pc:spChg chg="del">
          <ac:chgData name="Aurelien Domont" userId="6da7715ce44349b3" providerId="LiveId" clId="{7E9DDE9D-BE14-4F2F-B530-3883D1E41781}" dt="2021-05-26T07:47:30.576" v="1881" actId="478"/>
          <ac:spMkLst>
            <pc:docMk/>
            <pc:sldMk cId="49722598" sldId="2239"/>
            <ac:spMk id="29" creationId="{B21C54AB-0671-43C1-A269-A903D2CC3F79}"/>
          </ac:spMkLst>
        </pc:spChg>
        <pc:spChg chg="del">
          <ac:chgData name="Aurelien Domont" userId="6da7715ce44349b3" providerId="LiveId" clId="{7E9DDE9D-BE14-4F2F-B530-3883D1E41781}" dt="2021-05-26T07:47:30.576" v="1881" actId="478"/>
          <ac:spMkLst>
            <pc:docMk/>
            <pc:sldMk cId="49722598" sldId="2239"/>
            <ac:spMk id="30" creationId="{3E540E21-DDFC-4F75-B227-CE13C29C0005}"/>
          </ac:spMkLst>
        </pc:spChg>
        <pc:picChg chg="add mod">
          <ac:chgData name="Aurelien Domont" userId="6da7715ce44349b3" providerId="LiveId" clId="{7E9DDE9D-BE14-4F2F-B530-3883D1E41781}" dt="2021-05-26T07:49:17.812" v="1886" actId="1076"/>
          <ac:picMkLst>
            <pc:docMk/>
            <pc:sldMk cId="49722598" sldId="2239"/>
            <ac:picMk id="4" creationId="{B7E1AE12-CBB2-4004-BDDD-847725CD17A6}"/>
          </ac:picMkLst>
        </pc:picChg>
      </pc:sldChg>
      <pc:sldChg chg="add del">
        <pc:chgData name="Aurelien Domont" userId="6da7715ce44349b3" providerId="LiveId" clId="{7E9DDE9D-BE14-4F2F-B530-3883D1E41781}" dt="2021-05-26T08:00:30.683" v="2183"/>
        <pc:sldMkLst>
          <pc:docMk/>
          <pc:sldMk cId="1771333636" sldId="2240"/>
        </pc:sldMkLst>
      </pc:sldChg>
    </pc:docChg>
  </pc:docChgLst>
  <pc:docChgLst>
    <pc:chgData name="Aurelien Domont" userId="6da7715ce44349b3" providerId="LiveId" clId="{D73A5100-2014-4653-BE3B-1094287EED29}"/>
    <pc:docChg chg="custSel addSld delSld modSld">
      <pc:chgData name="Aurelien Domont" userId="6da7715ce44349b3" providerId="LiveId" clId="{D73A5100-2014-4653-BE3B-1094287EED29}" dt="2023-01-30T05:26:09.546" v="3"/>
      <pc:docMkLst>
        <pc:docMk/>
      </pc:docMkLst>
      <pc:sldChg chg="addSp delSp modSp mod">
        <pc:chgData name="Aurelien Domont" userId="6da7715ce44349b3" providerId="LiveId" clId="{D73A5100-2014-4653-BE3B-1094287EED29}" dt="2023-01-30T05:17:50.302" v="1"/>
        <pc:sldMkLst>
          <pc:docMk/>
          <pc:sldMk cId="3131901387" sldId="256"/>
        </pc:sldMkLst>
        <pc:picChg chg="add mod">
          <ac:chgData name="Aurelien Domont" userId="6da7715ce44349b3" providerId="LiveId" clId="{D73A5100-2014-4653-BE3B-1094287EED29}" dt="2023-01-30T05:17:50.302" v="1"/>
          <ac:picMkLst>
            <pc:docMk/>
            <pc:sldMk cId="3131901387" sldId="256"/>
            <ac:picMk id="3" creationId="{E1B55C20-76B8-3E6A-6D65-F470147D1E19}"/>
          </ac:picMkLst>
        </pc:picChg>
        <pc:picChg chg="del">
          <ac:chgData name="Aurelien Domont" userId="6da7715ce44349b3" providerId="LiveId" clId="{D73A5100-2014-4653-BE3B-1094287EED29}" dt="2023-01-30T05:17:50.059" v="0" actId="478"/>
          <ac:picMkLst>
            <pc:docMk/>
            <pc:sldMk cId="3131901387" sldId="256"/>
            <ac:picMk id="7" creationId="{56F6D9FE-2BD8-43FA-8517-544E7B92AA1A}"/>
          </ac:picMkLst>
        </pc:picChg>
      </pc:sldChg>
      <pc:sldChg chg="add del">
        <pc:chgData name="Aurelien Domont" userId="6da7715ce44349b3" providerId="LiveId" clId="{D73A5100-2014-4653-BE3B-1094287EED29}" dt="2023-01-30T05:26:09.546" v="3"/>
        <pc:sldMkLst>
          <pc:docMk/>
          <pc:sldMk cId="1754585881" sldId="1598"/>
        </pc:sldMkLst>
      </pc:sldChg>
      <pc:sldChg chg="del">
        <pc:chgData name="Aurelien Domont" userId="6da7715ce44349b3" providerId="LiveId" clId="{D73A5100-2014-4653-BE3B-1094287EED29}" dt="2023-01-30T05:26:07.870" v="2" actId="47"/>
        <pc:sldMkLst>
          <pc:docMk/>
          <pc:sldMk cId="748962572" sldId="1599"/>
        </pc:sldMkLst>
      </pc:sldChg>
      <pc:sldChg chg="del">
        <pc:chgData name="Aurelien Domont" userId="6da7715ce44349b3" providerId="LiveId" clId="{D73A5100-2014-4653-BE3B-1094287EED29}" dt="2023-01-30T05:26:07.870" v="2" actId="47"/>
        <pc:sldMkLst>
          <pc:docMk/>
          <pc:sldMk cId="2853806433" sldId="1600"/>
        </pc:sldMkLst>
      </pc:sldChg>
      <pc:sldChg chg="add">
        <pc:chgData name="Aurelien Domont" userId="6da7715ce44349b3" providerId="LiveId" clId="{D73A5100-2014-4653-BE3B-1094287EED29}" dt="2023-01-30T05:26:09.546" v="3"/>
        <pc:sldMkLst>
          <pc:docMk/>
          <pc:sldMk cId="1289725493" sldId="2149"/>
        </pc:sldMkLst>
      </pc:sldChg>
      <pc:sldChg chg="del">
        <pc:chgData name="Aurelien Domont" userId="6da7715ce44349b3" providerId="LiveId" clId="{D73A5100-2014-4653-BE3B-1094287EED29}" dt="2023-01-30T05:26:07.870" v="2" actId="47"/>
        <pc:sldMkLst>
          <pc:docMk/>
          <pc:sldMk cId="3884493708" sldId="2250"/>
        </pc:sldMkLst>
      </pc:sldChg>
    </pc:docChg>
  </pc:docChgLst>
  <pc:docChgLst>
    <pc:chgData name="Aurelien Domont" userId="6da7715ce44349b3" providerId="LiveId" clId="{B7873C68-9BFD-4325-B07C-6245C360A5D1}"/>
    <pc:docChg chg="undo custSel addSld delSld modSld">
      <pc:chgData name="Aurelien Domont" userId="6da7715ce44349b3" providerId="LiveId" clId="{B7873C68-9BFD-4325-B07C-6245C360A5D1}" dt="2021-05-14T05:06:22.597" v="290" actId="47"/>
      <pc:docMkLst>
        <pc:docMk/>
      </pc:docMkLst>
      <pc:sldChg chg="modSp mod">
        <pc:chgData name="Aurelien Domont" userId="6da7715ce44349b3" providerId="LiveId" clId="{B7873C68-9BFD-4325-B07C-6245C360A5D1}" dt="2021-05-13T04:53:43.632" v="10"/>
        <pc:sldMkLst>
          <pc:docMk/>
          <pc:sldMk cId="1659127470" sldId="1924"/>
        </pc:sldMkLst>
        <pc:spChg chg="mod">
          <ac:chgData name="Aurelien Domont" userId="6da7715ce44349b3" providerId="LiveId" clId="{B7873C68-9BFD-4325-B07C-6245C360A5D1}" dt="2021-05-13T04:53:43.632" v="10"/>
          <ac:spMkLst>
            <pc:docMk/>
            <pc:sldMk cId="1659127470" sldId="1924"/>
            <ac:spMk id="24" creationId="{95714746-22CF-48C5-AD51-9D9AE6E5F2C8}"/>
          </ac:spMkLst>
        </pc:spChg>
      </pc:sldChg>
      <pc:sldChg chg="addSp modSp add del mod">
        <pc:chgData name="Aurelien Domont" userId="6da7715ce44349b3" providerId="LiveId" clId="{B7873C68-9BFD-4325-B07C-6245C360A5D1}" dt="2021-05-13T05:03:35.272" v="16" actId="47"/>
        <pc:sldMkLst>
          <pc:docMk/>
          <pc:sldMk cId="1714784991" sldId="2150"/>
        </pc:sldMkLst>
        <pc:spChg chg="add mod">
          <ac:chgData name="Aurelien Domont" userId="6da7715ce44349b3" providerId="LiveId" clId="{B7873C68-9BFD-4325-B07C-6245C360A5D1}" dt="2021-05-13T05:01:35.252" v="13" actId="207"/>
          <ac:spMkLst>
            <pc:docMk/>
            <pc:sldMk cId="1714784991" sldId="2150"/>
            <ac:spMk id="2" creationId="{4ED3F7DF-E9A5-480E-8B93-7A2E00451A92}"/>
          </ac:spMkLst>
        </pc:spChg>
        <pc:spChg chg="mod">
          <ac:chgData name="Aurelien Domont" userId="6da7715ce44349b3" providerId="LiveId" clId="{B7873C68-9BFD-4325-B07C-6245C360A5D1}" dt="2021-05-13T05:01:39.975" v="14" actId="12"/>
          <ac:spMkLst>
            <pc:docMk/>
            <pc:sldMk cId="1714784991" sldId="2150"/>
            <ac:spMk id="24" creationId="{95714746-22CF-48C5-AD51-9D9AE6E5F2C8}"/>
          </ac:spMkLst>
        </pc:spChg>
        <pc:spChg chg="mod">
          <ac:chgData name="Aurelien Domont" userId="6da7715ce44349b3" providerId="LiveId" clId="{B7873C68-9BFD-4325-B07C-6245C360A5D1}" dt="2021-05-13T05:02:40.900" v="15" actId="12"/>
          <ac:spMkLst>
            <pc:docMk/>
            <pc:sldMk cId="1714784991" sldId="2150"/>
            <ac:spMk id="25" creationId="{0B462317-12E0-4745-AFEC-1DF156C5EB17}"/>
          </ac:spMkLst>
        </pc:spChg>
      </pc:sldChg>
      <pc:sldChg chg="addSp delSp modSp new del mod">
        <pc:chgData name="Aurelien Domont" userId="6da7715ce44349b3" providerId="LiveId" clId="{B7873C68-9BFD-4325-B07C-6245C360A5D1}" dt="2021-05-14T05:06:22.597" v="290" actId="47"/>
        <pc:sldMkLst>
          <pc:docMk/>
          <pc:sldMk cId="4189768353" sldId="2150"/>
        </pc:sldMkLst>
        <pc:spChg chg="add mod">
          <ac:chgData name="Aurelien Domont" userId="6da7715ce44349b3" providerId="LiveId" clId="{B7873C68-9BFD-4325-B07C-6245C360A5D1}" dt="2021-05-13T07:35:33.014" v="224" actId="1076"/>
          <ac:spMkLst>
            <pc:docMk/>
            <pc:sldMk cId="4189768353" sldId="2150"/>
            <ac:spMk id="2" creationId="{E3244593-14AB-40F1-96D0-787E5C3BCF8E}"/>
          </ac:spMkLst>
        </pc:spChg>
        <pc:spChg chg="add del mod">
          <ac:chgData name="Aurelien Domont" userId="6da7715ce44349b3" providerId="LiveId" clId="{B7873C68-9BFD-4325-B07C-6245C360A5D1}" dt="2021-05-13T07:35:25.705" v="221" actId="478"/>
          <ac:spMkLst>
            <pc:docMk/>
            <pc:sldMk cId="4189768353" sldId="2150"/>
            <ac:spMk id="3" creationId="{783D8380-074E-4646-B2C9-4DF149192EB7}"/>
          </ac:spMkLst>
        </pc:spChg>
        <pc:spChg chg="add mod">
          <ac:chgData name="Aurelien Domont" userId="6da7715ce44349b3" providerId="LiveId" clId="{B7873C68-9BFD-4325-B07C-6245C360A5D1}" dt="2021-05-13T07:27:51.866" v="173" actId="20577"/>
          <ac:spMkLst>
            <pc:docMk/>
            <pc:sldMk cId="4189768353" sldId="2150"/>
            <ac:spMk id="4" creationId="{F110EECC-B326-47A3-AE11-DA5B5E4C1A62}"/>
          </ac:spMkLst>
        </pc:spChg>
        <pc:spChg chg="add mod">
          <ac:chgData name="Aurelien Domont" userId="6da7715ce44349b3" providerId="LiveId" clId="{B7873C68-9BFD-4325-B07C-6245C360A5D1}" dt="2021-05-13T07:31:32.283" v="217" actId="1076"/>
          <ac:spMkLst>
            <pc:docMk/>
            <pc:sldMk cId="4189768353" sldId="2150"/>
            <ac:spMk id="5" creationId="{2AAE4184-AECD-472D-8BBB-313C21CE89A3}"/>
          </ac:spMkLst>
        </pc:spChg>
        <pc:spChg chg="add del mod">
          <ac:chgData name="Aurelien Domont" userId="6da7715ce44349b3" providerId="LiveId" clId="{B7873C68-9BFD-4325-B07C-6245C360A5D1}" dt="2021-05-13T07:31:13.431" v="215"/>
          <ac:spMkLst>
            <pc:docMk/>
            <pc:sldMk cId="4189768353" sldId="2150"/>
            <ac:spMk id="6" creationId="{8F2034A6-4FFF-43EE-B4C4-2017C44071DF}"/>
          </ac:spMkLst>
        </pc:spChg>
        <pc:spChg chg="add mod">
          <ac:chgData name="Aurelien Domont" userId="6da7715ce44349b3" providerId="LiveId" clId="{B7873C68-9BFD-4325-B07C-6245C360A5D1}" dt="2021-05-13T07:33:22.024" v="219"/>
          <ac:spMkLst>
            <pc:docMk/>
            <pc:sldMk cId="4189768353" sldId="2150"/>
            <ac:spMk id="7" creationId="{59C734AD-4E2E-49E4-83D5-6C2C3CFF194B}"/>
          </ac:spMkLst>
        </pc:spChg>
        <pc:spChg chg="add mod">
          <ac:chgData name="Aurelien Domont" userId="6da7715ce44349b3" providerId="LiveId" clId="{B7873C68-9BFD-4325-B07C-6245C360A5D1}" dt="2021-05-13T07:36:54.598" v="289" actId="20577"/>
          <ac:spMkLst>
            <pc:docMk/>
            <pc:sldMk cId="4189768353" sldId="2150"/>
            <ac:spMk id="8" creationId="{DC5DA6E5-FEA6-4AB5-9996-63EBED53B952}"/>
          </ac:spMkLst>
        </pc:spChg>
      </pc:sldChg>
      <pc:sldMasterChg chg="delSldLayout">
        <pc:chgData name="Aurelien Domont" userId="6da7715ce44349b3" providerId="LiveId" clId="{B7873C68-9BFD-4325-B07C-6245C360A5D1}" dt="2021-05-14T05:06:22.597" v="290" actId="47"/>
        <pc:sldMasterMkLst>
          <pc:docMk/>
          <pc:sldMasterMk cId="630589790" sldId="2147483664"/>
        </pc:sldMasterMkLst>
        <pc:sldLayoutChg chg="del">
          <pc:chgData name="Aurelien Domont" userId="6da7715ce44349b3" providerId="LiveId" clId="{B7873C68-9BFD-4325-B07C-6245C360A5D1}" dt="2021-05-14T05:06:22.597" v="290" actId="47"/>
          <pc:sldLayoutMkLst>
            <pc:docMk/>
            <pc:sldMasterMk cId="630589790" sldId="2147483664"/>
            <pc:sldLayoutMk cId="479443308" sldId="2147483673"/>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6/14/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6/1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0</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1</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19780868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2067297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20913064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3877872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39421463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20550683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6</a:t>
            </a:fld>
            <a:endParaRPr lang="en-US" dirty="0"/>
          </a:p>
        </p:txBody>
      </p:sp>
    </p:spTree>
    <p:extLst>
      <p:ext uri="{BB962C8B-B14F-4D97-AF65-F5344CB8AC3E}">
        <p14:creationId xmlns:p14="http://schemas.microsoft.com/office/powerpoint/2010/main" val="20924163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8</a:t>
            </a:fld>
            <a:endParaRPr lang="en-US" dirty="0"/>
          </a:p>
        </p:txBody>
      </p:sp>
    </p:spTree>
    <p:extLst>
      <p:ext uri="{BB962C8B-B14F-4D97-AF65-F5344CB8AC3E}">
        <p14:creationId xmlns:p14="http://schemas.microsoft.com/office/powerpoint/2010/main" val="927898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8.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32.xml"/><Relationship Id="rId5" Type="http://schemas.openxmlformats.org/officeDocument/2006/relationships/slideLayout" Target="../slideLayouts/slideLayout20.xml"/><Relationship Id="rId10" Type="http://schemas.openxmlformats.org/officeDocument/2006/relationships/tags" Target="../tags/tag31.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7.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7.xml"/><Relationship Id="rId5" Type="http://schemas.openxmlformats.org/officeDocument/2006/relationships/slideLayout" Target="../slideLayouts/slideLayout28.xml"/><Relationship Id="rId10" Type="http://schemas.openxmlformats.org/officeDocument/2006/relationships/tags" Target="../tags/tag46.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36.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62.xml"/><Relationship Id="rId5" Type="http://schemas.openxmlformats.org/officeDocument/2006/relationships/slideLayout" Target="../slideLayouts/slideLayout36.xml"/><Relationship Id="rId10" Type="http://schemas.openxmlformats.org/officeDocument/2006/relationships/tags" Target="../tags/tag61.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45.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7.xml"/><Relationship Id="rId5" Type="http://schemas.openxmlformats.org/officeDocument/2006/relationships/slideLayout" Target="../slideLayouts/slideLayout44.xml"/><Relationship Id="rId10" Type="http://schemas.openxmlformats.org/officeDocument/2006/relationships/tags" Target="../tags/tag76.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54.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92.xml"/><Relationship Id="rId5" Type="http://schemas.openxmlformats.org/officeDocument/2006/relationships/slideLayout" Target="../slideLayouts/slideLayout52.xml"/><Relationship Id="rId10" Type="http://schemas.openxmlformats.org/officeDocument/2006/relationships/tags" Target="../tags/tag91.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96.xml"/><Relationship Id="rId5" Type="http://schemas.openxmlformats.org/officeDocument/2006/relationships/slideLayout" Target="../slideLayouts/slideLayout60.xml"/><Relationship Id="rId10" Type="http://schemas.openxmlformats.org/officeDocument/2006/relationships/tags" Target="../tags/tag95.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0.xml"/><Relationship Id="rId5" Type="http://schemas.openxmlformats.org/officeDocument/2006/relationships/slideLayout" Target="../slideLayouts/slideLayout68.xml"/><Relationship Id="rId10" Type="http://schemas.openxmlformats.org/officeDocument/2006/relationships/tags" Target="../tags/tag99.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hyperlink" Target="https://www.domontconsulting.com/" TargetMode="Externa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5.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15.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2.bin"/><Relationship Id="rId9" Type="http://schemas.openxmlformats.org/officeDocument/2006/relationships/image" Target="../media/image7.svg"/><Relationship Id="rId1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3.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6.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20.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2.bin"/><Relationship Id="rId9" Type="http://schemas.openxmlformats.org/officeDocument/2006/relationships/image" Target="../media/image7.svg"/><Relationship Id="rId1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5.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oleObject" Target="../embeddings/oleObject65.bin"/><Relationship Id="rId7" Type="http://schemas.openxmlformats.org/officeDocument/2006/relationships/image" Target="../media/image20.png"/><Relationship Id="rId2" Type="http://schemas.openxmlformats.org/officeDocument/2006/relationships/slideLayout" Target="../slideLayouts/slideLayout3.xml"/><Relationship Id="rId1" Type="http://schemas.openxmlformats.org/officeDocument/2006/relationships/tags" Target="../tags/tag123.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7.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24.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2.bin"/><Relationship Id="rId9" Type="http://schemas.openxmlformats.org/officeDocument/2006/relationships/image" Target="../media/image7.svg"/><Relationship Id="rId1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25.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126.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127.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05.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128.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29.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30.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31.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32.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33.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8.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34.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2.bin"/><Relationship Id="rId9" Type="http://schemas.openxmlformats.org/officeDocument/2006/relationships/image" Target="../media/image7.svg"/><Relationship Id="rId14" Type="http://schemas.openxmlformats.org/officeDocument/2006/relationships/image" Target="../media/image12.png"/></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3.xml"/><Relationship Id="rId1" Type="http://schemas.openxmlformats.org/officeDocument/2006/relationships/tags" Target="../tags/tag135.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9.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36.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2.bin"/><Relationship Id="rId9" Type="http://schemas.openxmlformats.org/officeDocument/2006/relationships/image" Target="../media/image7.svg"/><Relationship Id="rId14" Type="http://schemas.openxmlformats.org/officeDocument/2006/relationships/image" Target="../media/image12.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8.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3.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06.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2.bin"/><Relationship Id="rId9" Type="http://schemas.openxmlformats.org/officeDocument/2006/relationships/image" Target="../media/image7.svg"/><Relationship Id="rId14" Type="http://schemas.openxmlformats.org/officeDocument/2006/relationships/image" Target="../media/image12.png"/></Relationships>
</file>

<file path=ppt/slides/_rels/slide3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3.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2.emf"/><Relationship Id="rId5" Type="http://schemas.openxmlformats.org/officeDocument/2006/relationships/oleObject" Target="../embeddings/oleObject68.bin"/><Relationship Id="rId4" Type="http://schemas.openxmlformats.org/officeDocument/2006/relationships/notesSlide" Target="../notesSlides/notesSlide10.xml"/><Relationship Id="rId9" Type="http://schemas.openxmlformats.org/officeDocument/2006/relationships/hyperlink" Target="https://www.domontconsulting.com/pages/full-access"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11.xml"/><Relationship Id="rId9" Type="http://schemas.openxmlformats.org/officeDocument/2006/relationships/hyperlink" Target="http://www.domontconsulting.com/"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4.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07.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2.bin"/><Relationship Id="rId9" Type="http://schemas.openxmlformats.org/officeDocument/2006/relationships/image" Target="../media/image7.svg"/><Relationship Id="rId1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108.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109.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110.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99175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1" y="810229"/>
            <a:ext cx="10256128" cy="1967160"/>
          </a:xfrm>
        </p:spPr>
        <p:txBody>
          <a:bodyPr>
            <a:normAutofit/>
          </a:bodyPr>
          <a:lstStyle/>
          <a:p>
            <a:pPr>
              <a:defRPr/>
            </a:pPr>
            <a:r>
              <a:rPr lang="en-GB" sz="4800" dirty="0"/>
              <a:t>Target companies</a:t>
            </a:r>
            <a:endParaRPr lang="en-US" sz="4800" b="0" dirty="0"/>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168492" y="266480"/>
              <a:ext cx="406254"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Guide</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6" name="Text Placeholder 2">
            <a:extLst>
              <a:ext uri="{FF2B5EF4-FFF2-40B4-BE49-F238E27FC236}">
                <a16:creationId xmlns:a16="http://schemas.microsoft.com/office/drawing/2014/main" id="{352AA2C5-ED37-41BC-87C5-9CE052D30874}"/>
              </a:ext>
            </a:extLst>
          </p:cNvPr>
          <p:cNvSpPr>
            <a:spLocks noGrp="1"/>
          </p:cNvSpPr>
          <p:nvPr>
            <p:ph type="body" sz="quarter" idx="11"/>
          </p:nvPr>
        </p:nvSpPr>
        <p:spPr>
          <a:xfrm>
            <a:off x="503240" y="3280961"/>
            <a:ext cx="10313987" cy="1620957"/>
          </a:xfrm>
        </p:spPr>
        <p:txBody>
          <a:bodyPr lIns="0" tIns="0" rIns="0" bIns="0">
            <a:spAutoFit/>
          </a:bodyPr>
          <a:lstStyle/>
          <a:p>
            <a:r>
              <a:rPr lang="en-US" sz="1600" b="1" dirty="0"/>
              <a:t>CEO: </a:t>
            </a:r>
            <a:r>
              <a:rPr lang="en-US" sz="1600" dirty="0"/>
              <a:t>insert your own text</a:t>
            </a:r>
          </a:p>
          <a:p>
            <a:r>
              <a:rPr lang="en-US" sz="1600" b="1" dirty="0"/>
              <a:t>Chief Strategy Officer: </a:t>
            </a:r>
            <a:r>
              <a:rPr lang="en-US" sz="1600" dirty="0"/>
              <a:t>insert your own text</a:t>
            </a:r>
          </a:p>
          <a:p>
            <a:r>
              <a:rPr lang="en-US" sz="1600" b="1" dirty="0"/>
              <a:t>Date: </a:t>
            </a:r>
            <a:r>
              <a:rPr lang="en-US" sz="1600" dirty="0"/>
              <a:t>insert your own text</a:t>
            </a:r>
          </a:p>
          <a:p>
            <a:r>
              <a:rPr lang="en-US" sz="1600" b="1" dirty="0"/>
              <a:t>Version: </a:t>
            </a:r>
            <a:r>
              <a:rPr lang="en-US" sz="1600" dirty="0"/>
              <a:t>insert your own text</a:t>
            </a:r>
          </a:p>
          <a:p>
            <a:r>
              <a:rPr lang="en-US" sz="1600" b="1" dirty="0"/>
              <a:t>Contact Email: </a:t>
            </a:r>
            <a:r>
              <a:rPr lang="en-US" sz="1600" dirty="0"/>
              <a:t>insert your own text</a:t>
            </a:r>
          </a:p>
        </p:txBody>
      </p:sp>
      <p:pic>
        <p:nvPicPr>
          <p:cNvPr id="3" name="Picture 2">
            <a:hlinkClick r:id="rId7"/>
            <a:extLst>
              <a:ext uri="{FF2B5EF4-FFF2-40B4-BE49-F238E27FC236}">
                <a16:creationId xmlns:a16="http://schemas.microsoft.com/office/drawing/2014/main" id="{E1B55C20-76B8-3E6A-6D65-F470147D1E19}"/>
              </a:ext>
            </a:extLst>
          </p:cNvPr>
          <p:cNvPicPr>
            <a:picLocks noChangeAspect="1"/>
          </p:cNvPicPr>
          <p:nvPr/>
        </p:nvPicPr>
        <p:blipFill>
          <a:blip r:embed="rId8"/>
          <a:stretch>
            <a:fillRect/>
          </a:stretch>
        </p:blipFill>
        <p:spPr>
          <a:xfrm>
            <a:off x="7451369" y="5403711"/>
            <a:ext cx="4380412" cy="1030262"/>
          </a:xfrm>
          <a:prstGeom prst="rect">
            <a:avLst/>
          </a:prstGeom>
        </p:spPr>
      </p:pic>
      <p:sp>
        <p:nvSpPr>
          <p:cNvPr id="4" name="Speech Bubble: Rectangle with Corners Rounded 3">
            <a:extLst>
              <a:ext uri="{FF2B5EF4-FFF2-40B4-BE49-F238E27FC236}">
                <a16:creationId xmlns:a16="http://schemas.microsoft.com/office/drawing/2014/main" id="{DADC4124-409C-ED8C-C2DD-4AFCC2CAEC77}"/>
              </a:ext>
            </a:extLst>
          </p:cNvPr>
          <p:cNvSpPr/>
          <p:nvPr/>
        </p:nvSpPr>
        <p:spPr bwMode="auto">
          <a:xfrm>
            <a:off x="7735571" y="4116838"/>
            <a:ext cx="3207917" cy="918687"/>
          </a:xfrm>
          <a:prstGeom prst="wedgeRoundRectCallout">
            <a:avLst>
              <a:gd name="adj1" fmla="val -38346"/>
              <a:gd name="adj2" fmla="val 7756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Replace our logo by your own logo</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2" name="Chevron 10">
            <a:extLst>
              <a:ext uri="{FF2B5EF4-FFF2-40B4-BE49-F238E27FC236}">
                <a16:creationId xmlns:a16="http://schemas.microsoft.com/office/drawing/2014/main" id="{A805F83B-56F3-4732-C8D6-01B46F9E97BE}"/>
              </a:ext>
            </a:extLst>
          </p:cNvPr>
          <p:cNvSpPr/>
          <p:nvPr/>
        </p:nvSpPr>
        <p:spPr bwMode="auto">
          <a:xfrm>
            <a:off x="2363718"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F61CD57B-87F9-E5AA-587B-4F15F205DB50}"/>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B271EE0A-8E1B-1191-691A-A2D8E22B7388}"/>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18178DD7-E82B-BF79-4501-B16314C89E87}"/>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3B5A7E2E-1267-983F-C1EA-8105932F8B50}"/>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FA717BFA-05A8-ED01-6CB7-BBDB735CC91A}"/>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8BCE0EA7-8409-7B5F-1F8E-73445B227D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5ADEE204-7280-9A62-53A1-7F7DB5F551E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7F8BD381-44B7-71F4-15F2-A35DD8AA765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DEC2C730-8922-7853-4498-CA5C45AAEB6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4897546D-2580-030B-21EC-572FB533EFC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F7DF67A2-0519-777E-31DE-47425ED169EC}"/>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37908B5-BD39-04C4-3D64-0EFEFE69C7AC}"/>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C1DACED-55E7-7BE1-0847-D2671B72802F}"/>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EBECA2F-A321-19D2-0AE8-6253AC3DD7C2}"/>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C51E6AC-2F76-1930-9C07-23AF2B405F45}"/>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CD85CF5-404E-397E-70D8-83BA0F3B5E5E}"/>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83C39AF7-D964-2CF5-08A3-53F41F4664E0}"/>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3" name="Rectangle 22">
            <a:extLst>
              <a:ext uri="{FF2B5EF4-FFF2-40B4-BE49-F238E27FC236}">
                <a16:creationId xmlns:a16="http://schemas.microsoft.com/office/drawing/2014/main" id="{F0FBDB42-00EF-F29D-1B47-595514D8A8C1}"/>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B0F0"/>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24" name="Rectangle 23">
            <a:extLst>
              <a:ext uri="{FF2B5EF4-FFF2-40B4-BE49-F238E27FC236}">
                <a16:creationId xmlns:a16="http://schemas.microsoft.com/office/drawing/2014/main" id="{C5F4FA14-F859-3FD4-501E-94663384C2E8}"/>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25" name="Rectangle 24">
            <a:extLst>
              <a:ext uri="{FF2B5EF4-FFF2-40B4-BE49-F238E27FC236}">
                <a16:creationId xmlns:a16="http://schemas.microsoft.com/office/drawing/2014/main" id="{CB3A2E3B-C69D-0D68-3EC2-99DB3384AADD}"/>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26" name="Graphic 25" descr="Statistics outline">
            <a:extLst>
              <a:ext uri="{FF2B5EF4-FFF2-40B4-BE49-F238E27FC236}">
                <a16:creationId xmlns:a16="http://schemas.microsoft.com/office/drawing/2014/main" id="{847B4F26-49F4-6B0B-4DDF-AD15CC6BEBA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27" name="Rectangle 26">
            <a:extLst>
              <a:ext uri="{FF2B5EF4-FFF2-40B4-BE49-F238E27FC236}">
                <a16:creationId xmlns:a16="http://schemas.microsoft.com/office/drawing/2014/main" id="{90BA11AA-7C89-6FD3-C8CB-883D849A777D}"/>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14535841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rated our potential target companies by scoring 1 point for meeting a criteria, and 0 point for not meeting a criteria</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1</a:t>
            </a:fld>
            <a:endParaRPr lang="en-US" dirty="0">
              <a:solidFill>
                <a:srgbClr val="ADAFBB"/>
              </a:solidFill>
            </a:endParaRPr>
          </a:p>
        </p:txBody>
      </p:sp>
      <p:graphicFrame>
        <p:nvGraphicFramePr>
          <p:cNvPr id="7" name="Group 3">
            <a:extLst>
              <a:ext uri="{FF2B5EF4-FFF2-40B4-BE49-F238E27FC236}">
                <a16:creationId xmlns:a16="http://schemas.microsoft.com/office/drawing/2014/main" id="{2BA29E36-7938-4A0B-9ACC-C42DF839FF39}"/>
              </a:ext>
            </a:extLst>
          </p:cNvPr>
          <p:cNvGraphicFramePr>
            <a:graphicFrameLocks/>
          </p:cNvGraphicFramePr>
          <p:nvPr>
            <p:custDataLst>
              <p:tags r:id="rId2"/>
            </p:custDataLst>
          </p:nvPr>
        </p:nvGraphicFramePr>
        <p:xfrm>
          <a:off x="618835" y="1594064"/>
          <a:ext cx="10931347" cy="4554765"/>
        </p:xfrm>
        <a:graphic>
          <a:graphicData uri="http://schemas.openxmlformats.org/drawingml/2006/table">
            <a:tbl>
              <a:tblPr>
                <a:tableStyleId>{8799B23B-EC83-4686-B30A-512413B5E67A}</a:tableStyleId>
              </a:tblPr>
              <a:tblGrid>
                <a:gridCol w="1967347">
                  <a:extLst>
                    <a:ext uri="{9D8B030D-6E8A-4147-A177-3AD203B41FA5}">
                      <a16:colId xmlns:a16="http://schemas.microsoft.com/office/drawing/2014/main" val="20000"/>
                    </a:ext>
                  </a:extLst>
                </a:gridCol>
                <a:gridCol w="1494000">
                  <a:extLst>
                    <a:ext uri="{9D8B030D-6E8A-4147-A177-3AD203B41FA5}">
                      <a16:colId xmlns:a16="http://schemas.microsoft.com/office/drawing/2014/main" val="20001"/>
                    </a:ext>
                  </a:extLst>
                </a:gridCol>
                <a:gridCol w="1494000">
                  <a:extLst>
                    <a:ext uri="{9D8B030D-6E8A-4147-A177-3AD203B41FA5}">
                      <a16:colId xmlns:a16="http://schemas.microsoft.com/office/drawing/2014/main" val="20002"/>
                    </a:ext>
                  </a:extLst>
                </a:gridCol>
                <a:gridCol w="1494000">
                  <a:extLst>
                    <a:ext uri="{9D8B030D-6E8A-4147-A177-3AD203B41FA5}">
                      <a16:colId xmlns:a16="http://schemas.microsoft.com/office/drawing/2014/main" val="20003"/>
                    </a:ext>
                  </a:extLst>
                </a:gridCol>
                <a:gridCol w="1494000">
                  <a:extLst>
                    <a:ext uri="{9D8B030D-6E8A-4147-A177-3AD203B41FA5}">
                      <a16:colId xmlns:a16="http://schemas.microsoft.com/office/drawing/2014/main" val="20004"/>
                    </a:ext>
                  </a:extLst>
                </a:gridCol>
                <a:gridCol w="1494000">
                  <a:extLst>
                    <a:ext uri="{9D8B030D-6E8A-4147-A177-3AD203B41FA5}">
                      <a16:colId xmlns:a16="http://schemas.microsoft.com/office/drawing/2014/main" val="20005"/>
                    </a:ext>
                  </a:extLst>
                </a:gridCol>
                <a:gridCol w="1494000">
                  <a:extLst>
                    <a:ext uri="{9D8B030D-6E8A-4147-A177-3AD203B41FA5}">
                      <a16:colId xmlns:a16="http://schemas.microsoft.com/office/drawing/2014/main" val="20006"/>
                    </a:ext>
                  </a:extLst>
                </a:gridCol>
              </a:tblGrid>
              <a:tr h="52106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1" i="0" u="none" strike="noStrike" cap="none" normalizeH="0" baseline="0" dirty="0">
                        <a:ln>
                          <a:noFill/>
                        </a:ln>
                        <a:solidFill>
                          <a:schemeClr val="bg1"/>
                        </a:solidFill>
                        <a:effectLst/>
                        <a:latin typeface="Arial" charset="0"/>
                      </a:endParaRPr>
                    </a:p>
                  </a:txBody>
                  <a:tcPr marL="66462" marR="66462" marT="36000" marB="36000" anchor="ctr" horzOverflow="overflow">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1</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2</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3</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4</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5</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Total score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396612">
                <a:tc>
                  <a:txBody>
                    <a:bodyPr/>
                    <a:lstStyle/>
                    <a:p>
                      <a:pPr marL="0" indent="0">
                        <a:lnSpc>
                          <a:spcPct val="106000"/>
                        </a:lnSpc>
                        <a:spcBef>
                          <a:spcPts val="40"/>
                        </a:spcBef>
                        <a:spcAft>
                          <a:spcPts val="40"/>
                        </a:spcAft>
                        <a:buFont typeface="Arial" pitchFamily="34" charset="0"/>
                        <a:buNone/>
                      </a:pPr>
                      <a:r>
                        <a:rPr lang="en-US" sz="1000" b="1" dirty="0">
                          <a:solidFill>
                            <a:schemeClr val="tx1"/>
                          </a:solidFill>
                          <a:latin typeface="Arial" charset="0"/>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4</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bl>
          </a:graphicData>
        </a:graphic>
      </p:graphicFrame>
      <p:sp>
        <p:nvSpPr>
          <p:cNvPr id="8" name="Arrow: Right 7">
            <a:extLst>
              <a:ext uri="{FF2B5EF4-FFF2-40B4-BE49-F238E27FC236}">
                <a16:creationId xmlns:a16="http://schemas.microsoft.com/office/drawing/2014/main" id="{9CE17FD7-ADB2-4730-BB9A-3947995554F7}"/>
              </a:ext>
            </a:extLst>
          </p:cNvPr>
          <p:cNvSpPr/>
          <p:nvPr/>
        </p:nvSpPr>
        <p:spPr>
          <a:xfrm>
            <a:off x="618835" y="6180697"/>
            <a:ext cx="323274" cy="3889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81DFC6B1-0CB8-4282-BCFC-615D7B8D51ED}"/>
              </a:ext>
            </a:extLst>
          </p:cNvPr>
          <p:cNvSpPr txBox="1"/>
          <p:nvPr/>
        </p:nvSpPr>
        <p:spPr>
          <a:xfrm>
            <a:off x="942109" y="6218867"/>
            <a:ext cx="10631056" cy="307777"/>
          </a:xfrm>
          <a:prstGeom prst="rect">
            <a:avLst/>
          </a:prstGeom>
          <a:noFill/>
        </p:spPr>
        <p:txBody>
          <a:bodyPr wrap="square" rtlCol="0">
            <a:spAutoFit/>
          </a:bodyPr>
          <a:lstStyle/>
          <a:p>
            <a:r>
              <a:rPr lang="en-US" sz="1400" dirty="0"/>
              <a:t>To access the most comprehensive list of our potential target companies, open the Excel sheet “Target companies”</a:t>
            </a:r>
          </a:p>
        </p:txBody>
      </p:sp>
    </p:spTree>
    <p:extLst>
      <p:ext uri="{BB962C8B-B14F-4D97-AF65-F5344CB8AC3E}">
        <p14:creationId xmlns:p14="http://schemas.microsoft.com/office/powerpoint/2010/main" val="31655240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rated our potential target companies by scoring 1 point for meeting a criteria, and 0 point for not meeting a criteria</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2</a:t>
            </a:fld>
            <a:endParaRPr lang="en-US" dirty="0">
              <a:solidFill>
                <a:srgbClr val="ADAFBB"/>
              </a:solidFill>
            </a:endParaRPr>
          </a:p>
        </p:txBody>
      </p:sp>
      <p:graphicFrame>
        <p:nvGraphicFramePr>
          <p:cNvPr id="7" name="Group 3">
            <a:extLst>
              <a:ext uri="{FF2B5EF4-FFF2-40B4-BE49-F238E27FC236}">
                <a16:creationId xmlns:a16="http://schemas.microsoft.com/office/drawing/2014/main" id="{2BA29E36-7938-4A0B-9ACC-C42DF839FF39}"/>
              </a:ext>
            </a:extLst>
          </p:cNvPr>
          <p:cNvGraphicFramePr>
            <a:graphicFrameLocks/>
          </p:cNvGraphicFramePr>
          <p:nvPr>
            <p:custDataLst>
              <p:tags r:id="rId2"/>
            </p:custDataLst>
          </p:nvPr>
        </p:nvGraphicFramePr>
        <p:xfrm>
          <a:off x="618835" y="1594064"/>
          <a:ext cx="10931347" cy="4554765"/>
        </p:xfrm>
        <a:graphic>
          <a:graphicData uri="http://schemas.openxmlformats.org/drawingml/2006/table">
            <a:tbl>
              <a:tblPr>
                <a:tableStyleId>{8799B23B-EC83-4686-B30A-512413B5E67A}</a:tableStyleId>
              </a:tblPr>
              <a:tblGrid>
                <a:gridCol w="1967347">
                  <a:extLst>
                    <a:ext uri="{9D8B030D-6E8A-4147-A177-3AD203B41FA5}">
                      <a16:colId xmlns:a16="http://schemas.microsoft.com/office/drawing/2014/main" val="20000"/>
                    </a:ext>
                  </a:extLst>
                </a:gridCol>
                <a:gridCol w="1494000">
                  <a:extLst>
                    <a:ext uri="{9D8B030D-6E8A-4147-A177-3AD203B41FA5}">
                      <a16:colId xmlns:a16="http://schemas.microsoft.com/office/drawing/2014/main" val="20001"/>
                    </a:ext>
                  </a:extLst>
                </a:gridCol>
                <a:gridCol w="1494000">
                  <a:extLst>
                    <a:ext uri="{9D8B030D-6E8A-4147-A177-3AD203B41FA5}">
                      <a16:colId xmlns:a16="http://schemas.microsoft.com/office/drawing/2014/main" val="20002"/>
                    </a:ext>
                  </a:extLst>
                </a:gridCol>
                <a:gridCol w="1494000">
                  <a:extLst>
                    <a:ext uri="{9D8B030D-6E8A-4147-A177-3AD203B41FA5}">
                      <a16:colId xmlns:a16="http://schemas.microsoft.com/office/drawing/2014/main" val="20003"/>
                    </a:ext>
                  </a:extLst>
                </a:gridCol>
                <a:gridCol w="1494000">
                  <a:extLst>
                    <a:ext uri="{9D8B030D-6E8A-4147-A177-3AD203B41FA5}">
                      <a16:colId xmlns:a16="http://schemas.microsoft.com/office/drawing/2014/main" val="20004"/>
                    </a:ext>
                  </a:extLst>
                </a:gridCol>
                <a:gridCol w="1494000">
                  <a:extLst>
                    <a:ext uri="{9D8B030D-6E8A-4147-A177-3AD203B41FA5}">
                      <a16:colId xmlns:a16="http://schemas.microsoft.com/office/drawing/2014/main" val="20005"/>
                    </a:ext>
                  </a:extLst>
                </a:gridCol>
                <a:gridCol w="1494000">
                  <a:extLst>
                    <a:ext uri="{9D8B030D-6E8A-4147-A177-3AD203B41FA5}">
                      <a16:colId xmlns:a16="http://schemas.microsoft.com/office/drawing/2014/main" val="20006"/>
                    </a:ext>
                  </a:extLst>
                </a:gridCol>
              </a:tblGrid>
              <a:tr h="52106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1" i="0" u="none" strike="noStrike" cap="none" normalizeH="0" baseline="0" dirty="0">
                        <a:ln>
                          <a:noFill/>
                        </a:ln>
                        <a:solidFill>
                          <a:schemeClr val="bg1"/>
                        </a:solidFill>
                        <a:effectLst/>
                        <a:latin typeface="Arial" charset="0"/>
                      </a:endParaRPr>
                    </a:p>
                  </a:txBody>
                  <a:tcPr marL="66462" marR="66462" marT="36000" marB="36000" anchor="ctr" horzOverflow="overflow">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1</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2</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3</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4</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5</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Total score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396612">
                <a:tc>
                  <a:txBody>
                    <a:bodyPr/>
                    <a:lstStyle/>
                    <a:p>
                      <a:pPr marL="0" indent="0">
                        <a:lnSpc>
                          <a:spcPct val="106000"/>
                        </a:lnSpc>
                        <a:spcBef>
                          <a:spcPts val="40"/>
                        </a:spcBef>
                        <a:spcAft>
                          <a:spcPts val="40"/>
                        </a:spcAft>
                        <a:buFont typeface="Arial" pitchFamily="34" charset="0"/>
                        <a:buNone/>
                      </a:pPr>
                      <a:r>
                        <a:rPr lang="en-US" sz="1000" b="1" dirty="0">
                          <a:solidFill>
                            <a:schemeClr val="tx1"/>
                          </a:solidFill>
                          <a:latin typeface="Arial" charset="0"/>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4</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bl>
          </a:graphicData>
        </a:graphic>
      </p:graphicFrame>
      <p:sp>
        <p:nvSpPr>
          <p:cNvPr id="8" name="Arrow: Right 7">
            <a:extLst>
              <a:ext uri="{FF2B5EF4-FFF2-40B4-BE49-F238E27FC236}">
                <a16:creationId xmlns:a16="http://schemas.microsoft.com/office/drawing/2014/main" id="{9CE17FD7-ADB2-4730-BB9A-3947995554F7}"/>
              </a:ext>
            </a:extLst>
          </p:cNvPr>
          <p:cNvSpPr/>
          <p:nvPr/>
        </p:nvSpPr>
        <p:spPr>
          <a:xfrm>
            <a:off x="618835" y="6180697"/>
            <a:ext cx="323274" cy="3889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81DFC6B1-0CB8-4282-BCFC-615D7B8D51ED}"/>
              </a:ext>
            </a:extLst>
          </p:cNvPr>
          <p:cNvSpPr txBox="1"/>
          <p:nvPr/>
        </p:nvSpPr>
        <p:spPr>
          <a:xfrm>
            <a:off x="942109" y="6218867"/>
            <a:ext cx="10631056" cy="307777"/>
          </a:xfrm>
          <a:prstGeom prst="rect">
            <a:avLst/>
          </a:prstGeom>
          <a:noFill/>
        </p:spPr>
        <p:txBody>
          <a:bodyPr wrap="square" rtlCol="0">
            <a:spAutoFit/>
          </a:bodyPr>
          <a:lstStyle/>
          <a:p>
            <a:r>
              <a:rPr lang="en-US" sz="1400" dirty="0"/>
              <a:t>To access the most comprehensive list of our potential target companies, open the Excel sheet “Target companies”</a:t>
            </a:r>
          </a:p>
        </p:txBody>
      </p:sp>
      <p:sp>
        <p:nvSpPr>
          <p:cNvPr id="10" name="Speech Bubble: Rectangle with Corners Rounded 9">
            <a:extLst>
              <a:ext uri="{FF2B5EF4-FFF2-40B4-BE49-F238E27FC236}">
                <a16:creationId xmlns:a16="http://schemas.microsoft.com/office/drawing/2014/main" id="{8F89796E-D8A9-45A9-97A6-3C2C9544E4F4}"/>
              </a:ext>
            </a:extLst>
          </p:cNvPr>
          <p:cNvSpPr/>
          <p:nvPr/>
        </p:nvSpPr>
        <p:spPr bwMode="auto">
          <a:xfrm>
            <a:off x="8262142" y="2371851"/>
            <a:ext cx="3207917" cy="1322694"/>
          </a:xfrm>
          <a:prstGeom prst="wedgeRoundRectCallout">
            <a:avLst>
              <a:gd name="adj1" fmla="val -50099"/>
              <a:gd name="adj2" fmla="val -6025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Based on your situation, you may decide to have more criteria. If this is the case, add more columns to this table and the table located in the Excel document “Target companies”</a:t>
            </a:r>
            <a:endParaRPr lang="en-US" sz="1200" b="1" dirty="0">
              <a:solidFill>
                <a:srgbClr val="0C2870"/>
              </a:solidFill>
              <a:latin typeface="Arial" charset="0"/>
              <a:cs typeface="Times New Roman" pitchFamily="18" charset="0"/>
            </a:endParaRPr>
          </a:p>
        </p:txBody>
      </p:sp>
      <p:sp>
        <p:nvSpPr>
          <p:cNvPr id="3" name="Rectangle: Rounded Corners 2">
            <a:extLst>
              <a:ext uri="{FF2B5EF4-FFF2-40B4-BE49-F238E27FC236}">
                <a16:creationId xmlns:a16="http://schemas.microsoft.com/office/drawing/2014/main" id="{C25E0020-5FE7-1DDA-3B37-3D0ED967B88C}"/>
              </a:ext>
            </a:extLst>
          </p:cNvPr>
          <p:cNvSpPr/>
          <p:nvPr/>
        </p:nvSpPr>
        <p:spPr>
          <a:xfrm>
            <a:off x="10249017" y="271821"/>
            <a:ext cx="1663438"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Tutorial</a:t>
            </a:r>
          </a:p>
        </p:txBody>
      </p:sp>
    </p:spTree>
    <p:extLst>
      <p:ext uri="{BB962C8B-B14F-4D97-AF65-F5344CB8AC3E}">
        <p14:creationId xmlns:p14="http://schemas.microsoft.com/office/powerpoint/2010/main" val="23685809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2" name="Chevron 10">
            <a:extLst>
              <a:ext uri="{FF2B5EF4-FFF2-40B4-BE49-F238E27FC236}">
                <a16:creationId xmlns:a16="http://schemas.microsoft.com/office/drawing/2014/main" id="{A805F83B-56F3-4732-C8D6-01B46F9E97BE}"/>
              </a:ext>
            </a:extLst>
          </p:cNvPr>
          <p:cNvSpPr/>
          <p:nvPr/>
        </p:nvSpPr>
        <p:spPr bwMode="auto">
          <a:xfrm>
            <a:off x="2363718"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F61CD57B-87F9-E5AA-587B-4F15F205DB50}"/>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B271EE0A-8E1B-1191-691A-A2D8E22B7388}"/>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18178DD7-E82B-BF79-4501-B16314C89E87}"/>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3B5A7E2E-1267-983F-C1EA-8105932F8B50}"/>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FA717BFA-05A8-ED01-6CB7-BBDB735CC91A}"/>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8BCE0EA7-8409-7B5F-1F8E-73445B227D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5ADEE204-7280-9A62-53A1-7F7DB5F551E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7F8BD381-44B7-71F4-15F2-A35DD8AA765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DEC2C730-8922-7853-4498-CA5C45AAEB6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4897546D-2580-030B-21EC-572FB533EFC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F7DF67A2-0519-777E-31DE-47425ED169EC}"/>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37908B5-BD39-04C4-3D64-0EFEFE69C7AC}"/>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C1DACED-55E7-7BE1-0847-D2671B72802F}"/>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EBECA2F-A321-19D2-0AE8-6253AC3DD7C2}"/>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C51E6AC-2F76-1930-9C07-23AF2B405F45}"/>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CD85CF5-404E-397E-70D8-83BA0F3B5E5E}"/>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83C39AF7-D964-2CF5-08A3-53F41F4664E0}"/>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3" name="Rectangle 22">
            <a:extLst>
              <a:ext uri="{FF2B5EF4-FFF2-40B4-BE49-F238E27FC236}">
                <a16:creationId xmlns:a16="http://schemas.microsoft.com/office/drawing/2014/main" id="{F0FBDB42-00EF-F29D-1B47-595514D8A8C1}"/>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B0F0"/>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24" name="Rectangle 23">
            <a:extLst>
              <a:ext uri="{FF2B5EF4-FFF2-40B4-BE49-F238E27FC236}">
                <a16:creationId xmlns:a16="http://schemas.microsoft.com/office/drawing/2014/main" id="{C5F4FA14-F859-3FD4-501E-94663384C2E8}"/>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25" name="Rectangle 24">
            <a:extLst>
              <a:ext uri="{FF2B5EF4-FFF2-40B4-BE49-F238E27FC236}">
                <a16:creationId xmlns:a16="http://schemas.microsoft.com/office/drawing/2014/main" id="{CB3A2E3B-C69D-0D68-3EC2-99DB3384AADD}"/>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26" name="Graphic 25" descr="Statistics outline">
            <a:extLst>
              <a:ext uri="{FF2B5EF4-FFF2-40B4-BE49-F238E27FC236}">
                <a16:creationId xmlns:a16="http://schemas.microsoft.com/office/drawing/2014/main" id="{847B4F26-49F4-6B0B-4DDF-AD15CC6BEBA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27" name="Rectangle 26">
            <a:extLst>
              <a:ext uri="{FF2B5EF4-FFF2-40B4-BE49-F238E27FC236}">
                <a16:creationId xmlns:a16="http://schemas.microsoft.com/office/drawing/2014/main" id="{90BA11AA-7C89-6FD3-C8CB-883D849A777D}"/>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40451729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36FBC34-8C71-4AE8-B911-65CC66D78EBE}"/>
              </a:ext>
            </a:extLst>
          </p:cNvPr>
          <p:cNvSpPr/>
          <p:nvPr/>
        </p:nvSpPr>
        <p:spPr bwMode="auto">
          <a:xfrm>
            <a:off x="641818" y="2410692"/>
            <a:ext cx="10829746" cy="1191490"/>
          </a:xfrm>
          <a:prstGeom prst="rect">
            <a:avLst/>
          </a:prstGeom>
          <a:solidFill>
            <a:schemeClr val="tx1">
              <a:lumMod val="10000"/>
              <a:lumOff val="90000"/>
              <a:alpha val="20000"/>
            </a:schemeClr>
          </a:solidFill>
          <a:ln w="28575">
            <a:solidFill>
              <a:srgbClr val="00B050"/>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Let’s now focus on the 3 [insert your own number] targets that reach a score of 5 out of 5</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4</a:t>
            </a:fld>
            <a:endParaRPr lang="en-US" dirty="0">
              <a:solidFill>
                <a:srgbClr val="ADAFBB"/>
              </a:solidFill>
            </a:endParaRPr>
          </a:p>
        </p:txBody>
      </p:sp>
      <p:graphicFrame>
        <p:nvGraphicFramePr>
          <p:cNvPr id="7" name="Group 3">
            <a:extLst>
              <a:ext uri="{FF2B5EF4-FFF2-40B4-BE49-F238E27FC236}">
                <a16:creationId xmlns:a16="http://schemas.microsoft.com/office/drawing/2014/main" id="{2BA29E36-7938-4A0B-9ACC-C42DF839FF39}"/>
              </a:ext>
            </a:extLst>
          </p:cNvPr>
          <p:cNvGraphicFramePr>
            <a:graphicFrameLocks/>
          </p:cNvGraphicFramePr>
          <p:nvPr>
            <p:custDataLst>
              <p:tags r:id="rId2"/>
            </p:custDataLst>
            <p:extLst>
              <p:ext uri="{D42A27DB-BD31-4B8C-83A1-F6EECF244321}">
                <p14:modId xmlns:p14="http://schemas.microsoft.com/office/powerpoint/2010/main" val="4219980306"/>
              </p:ext>
            </p:extLst>
          </p:nvPr>
        </p:nvGraphicFramePr>
        <p:xfrm>
          <a:off x="618835" y="1788026"/>
          <a:ext cx="10931347" cy="4554765"/>
        </p:xfrm>
        <a:graphic>
          <a:graphicData uri="http://schemas.openxmlformats.org/drawingml/2006/table">
            <a:tbl>
              <a:tblPr>
                <a:tableStyleId>{8799B23B-EC83-4686-B30A-512413B5E67A}</a:tableStyleId>
              </a:tblPr>
              <a:tblGrid>
                <a:gridCol w="1967347">
                  <a:extLst>
                    <a:ext uri="{9D8B030D-6E8A-4147-A177-3AD203B41FA5}">
                      <a16:colId xmlns:a16="http://schemas.microsoft.com/office/drawing/2014/main" val="20000"/>
                    </a:ext>
                  </a:extLst>
                </a:gridCol>
                <a:gridCol w="1494000">
                  <a:extLst>
                    <a:ext uri="{9D8B030D-6E8A-4147-A177-3AD203B41FA5}">
                      <a16:colId xmlns:a16="http://schemas.microsoft.com/office/drawing/2014/main" val="20001"/>
                    </a:ext>
                  </a:extLst>
                </a:gridCol>
                <a:gridCol w="1494000">
                  <a:extLst>
                    <a:ext uri="{9D8B030D-6E8A-4147-A177-3AD203B41FA5}">
                      <a16:colId xmlns:a16="http://schemas.microsoft.com/office/drawing/2014/main" val="20002"/>
                    </a:ext>
                  </a:extLst>
                </a:gridCol>
                <a:gridCol w="1494000">
                  <a:extLst>
                    <a:ext uri="{9D8B030D-6E8A-4147-A177-3AD203B41FA5}">
                      <a16:colId xmlns:a16="http://schemas.microsoft.com/office/drawing/2014/main" val="20003"/>
                    </a:ext>
                  </a:extLst>
                </a:gridCol>
                <a:gridCol w="1494000">
                  <a:extLst>
                    <a:ext uri="{9D8B030D-6E8A-4147-A177-3AD203B41FA5}">
                      <a16:colId xmlns:a16="http://schemas.microsoft.com/office/drawing/2014/main" val="20004"/>
                    </a:ext>
                  </a:extLst>
                </a:gridCol>
                <a:gridCol w="1494000">
                  <a:extLst>
                    <a:ext uri="{9D8B030D-6E8A-4147-A177-3AD203B41FA5}">
                      <a16:colId xmlns:a16="http://schemas.microsoft.com/office/drawing/2014/main" val="20005"/>
                    </a:ext>
                  </a:extLst>
                </a:gridCol>
                <a:gridCol w="1494000">
                  <a:extLst>
                    <a:ext uri="{9D8B030D-6E8A-4147-A177-3AD203B41FA5}">
                      <a16:colId xmlns:a16="http://schemas.microsoft.com/office/drawing/2014/main" val="20006"/>
                    </a:ext>
                  </a:extLst>
                </a:gridCol>
              </a:tblGrid>
              <a:tr h="52106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1" i="0" u="none" strike="noStrike" cap="none" normalizeH="0" baseline="0" dirty="0">
                        <a:ln>
                          <a:noFill/>
                        </a:ln>
                        <a:solidFill>
                          <a:schemeClr val="bg1"/>
                        </a:solidFill>
                        <a:effectLst/>
                        <a:latin typeface="Arial" charset="0"/>
                      </a:endParaRPr>
                    </a:p>
                  </a:txBody>
                  <a:tcPr marL="66462" marR="66462" marT="36000" marB="36000" anchor="ctr" horzOverflow="overflow">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1</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2</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3</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4</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5</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Total score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396612">
                <a:tc>
                  <a:txBody>
                    <a:bodyPr/>
                    <a:lstStyle/>
                    <a:p>
                      <a:pPr marL="0" indent="0">
                        <a:lnSpc>
                          <a:spcPct val="106000"/>
                        </a:lnSpc>
                        <a:spcBef>
                          <a:spcPts val="40"/>
                        </a:spcBef>
                        <a:spcAft>
                          <a:spcPts val="40"/>
                        </a:spcAft>
                        <a:buFont typeface="Arial" pitchFamily="34" charset="0"/>
                        <a:buNone/>
                      </a:pPr>
                      <a:r>
                        <a:rPr lang="en-US" sz="1000" b="1" dirty="0">
                          <a:solidFill>
                            <a:schemeClr val="tx1"/>
                          </a:solidFill>
                          <a:latin typeface="Arial" charset="0"/>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5</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5</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5</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5871318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For these 3 targets, we conducted a financial statements analysis and estimate their standalone business value</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5</a:t>
            </a:fld>
            <a:endParaRPr lang="en-US" dirty="0">
              <a:solidFill>
                <a:srgbClr val="ADAFBB"/>
              </a:solidFill>
            </a:endParaRPr>
          </a:p>
        </p:txBody>
      </p:sp>
      <p:sp>
        <p:nvSpPr>
          <p:cNvPr id="3" name="TextBox 2">
            <a:extLst>
              <a:ext uri="{FF2B5EF4-FFF2-40B4-BE49-F238E27FC236}">
                <a16:creationId xmlns:a16="http://schemas.microsoft.com/office/drawing/2014/main" id="{8E0F6653-2007-45F5-9875-6823233B5335}"/>
              </a:ext>
            </a:extLst>
          </p:cNvPr>
          <p:cNvSpPr txBox="1"/>
          <p:nvPr/>
        </p:nvSpPr>
        <p:spPr>
          <a:xfrm>
            <a:off x="1237670" y="2229725"/>
            <a:ext cx="3602182" cy="369332"/>
          </a:xfrm>
          <a:prstGeom prst="rect">
            <a:avLst/>
          </a:prstGeom>
          <a:noFill/>
        </p:spPr>
        <p:txBody>
          <a:bodyPr wrap="square" rtlCol="0">
            <a:spAutoFit/>
          </a:bodyPr>
          <a:lstStyle/>
          <a:p>
            <a:pPr algn="ctr"/>
            <a:r>
              <a:rPr lang="en-US" b="1" dirty="0"/>
              <a:t>F</a:t>
            </a:r>
            <a:r>
              <a:rPr lang="en-US" sz="1800" b="1" dirty="0"/>
              <a:t>inancial statements analysis</a:t>
            </a:r>
            <a:endParaRPr lang="en-US" b="1" dirty="0"/>
          </a:p>
        </p:txBody>
      </p:sp>
      <p:sp>
        <p:nvSpPr>
          <p:cNvPr id="8" name="TextBox 7">
            <a:extLst>
              <a:ext uri="{FF2B5EF4-FFF2-40B4-BE49-F238E27FC236}">
                <a16:creationId xmlns:a16="http://schemas.microsoft.com/office/drawing/2014/main" id="{5CAE4651-8C94-40CD-A83B-3DDA44D1E98A}"/>
              </a:ext>
            </a:extLst>
          </p:cNvPr>
          <p:cNvSpPr txBox="1"/>
          <p:nvPr/>
        </p:nvSpPr>
        <p:spPr>
          <a:xfrm>
            <a:off x="7133028" y="2258230"/>
            <a:ext cx="3602182" cy="369332"/>
          </a:xfrm>
          <a:prstGeom prst="rect">
            <a:avLst/>
          </a:prstGeom>
          <a:noFill/>
        </p:spPr>
        <p:txBody>
          <a:bodyPr wrap="square" rtlCol="0">
            <a:spAutoFit/>
          </a:bodyPr>
          <a:lstStyle/>
          <a:p>
            <a:pPr algn="ctr"/>
            <a:r>
              <a:rPr lang="en-US" b="1" dirty="0"/>
              <a:t>Standalone business valuation</a:t>
            </a:r>
          </a:p>
        </p:txBody>
      </p:sp>
      <p:pic>
        <p:nvPicPr>
          <p:cNvPr id="5" name="Graphic 4" descr="Statistics outline">
            <a:extLst>
              <a:ext uri="{FF2B5EF4-FFF2-40B4-BE49-F238E27FC236}">
                <a16:creationId xmlns:a16="http://schemas.microsoft.com/office/drawing/2014/main" id="{65934E0F-F3B1-4A8A-B141-08390C7858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69124" y="3130210"/>
            <a:ext cx="1251526" cy="1251526"/>
          </a:xfrm>
          <a:prstGeom prst="rect">
            <a:avLst/>
          </a:prstGeom>
        </p:spPr>
      </p:pic>
      <p:pic>
        <p:nvPicPr>
          <p:cNvPr id="9" name="Graphic 8" descr="Money with solid fill">
            <a:extLst>
              <a:ext uri="{FF2B5EF4-FFF2-40B4-BE49-F238E27FC236}">
                <a16:creationId xmlns:a16="http://schemas.microsoft.com/office/drawing/2014/main" id="{7C7628A0-9F60-42FD-AEEC-F631367DC91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39514" y="3139712"/>
            <a:ext cx="1251525" cy="1251525"/>
          </a:xfrm>
          <a:prstGeom prst="rect">
            <a:avLst/>
          </a:prstGeom>
        </p:spPr>
      </p:pic>
      <p:sp>
        <p:nvSpPr>
          <p:cNvPr id="14" name="Arrow: Right 13">
            <a:extLst>
              <a:ext uri="{FF2B5EF4-FFF2-40B4-BE49-F238E27FC236}">
                <a16:creationId xmlns:a16="http://schemas.microsoft.com/office/drawing/2014/main" id="{42C435E9-453B-4470-851E-3B3DDF86E42D}"/>
              </a:ext>
            </a:extLst>
          </p:cNvPr>
          <p:cNvSpPr/>
          <p:nvPr/>
        </p:nvSpPr>
        <p:spPr>
          <a:xfrm rot="5400000">
            <a:off x="2833250" y="4556786"/>
            <a:ext cx="323274" cy="3889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293CA295-36D2-46A4-96E2-A2D07D502636}"/>
              </a:ext>
            </a:extLst>
          </p:cNvPr>
          <p:cNvSpPr txBox="1"/>
          <p:nvPr/>
        </p:nvSpPr>
        <p:spPr>
          <a:xfrm>
            <a:off x="870523" y="5120768"/>
            <a:ext cx="4248727" cy="738664"/>
          </a:xfrm>
          <a:prstGeom prst="rect">
            <a:avLst/>
          </a:prstGeom>
          <a:noFill/>
        </p:spPr>
        <p:txBody>
          <a:bodyPr wrap="square" rtlCol="0">
            <a:spAutoFit/>
          </a:bodyPr>
          <a:lstStyle/>
          <a:p>
            <a:pPr algn="ctr"/>
            <a:r>
              <a:rPr lang="en-US" sz="1400" dirty="0"/>
              <a:t>To conduct a financial statement analysis, we leveraged the material included in the folder “Financial Statement Analysis”</a:t>
            </a:r>
          </a:p>
        </p:txBody>
      </p:sp>
      <p:sp>
        <p:nvSpPr>
          <p:cNvPr id="17" name="Arrow: Right 16">
            <a:extLst>
              <a:ext uri="{FF2B5EF4-FFF2-40B4-BE49-F238E27FC236}">
                <a16:creationId xmlns:a16="http://schemas.microsoft.com/office/drawing/2014/main" id="{3E5AAD86-CBAE-49C2-BC71-329ED7529D57}"/>
              </a:ext>
            </a:extLst>
          </p:cNvPr>
          <p:cNvSpPr/>
          <p:nvPr/>
        </p:nvSpPr>
        <p:spPr>
          <a:xfrm rot="5400000">
            <a:off x="9019558" y="4556786"/>
            <a:ext cx="323274" cy="3889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B10D2612-212D-43A4-ACE0-A2F29D546299}"/>
              </a:ext>
            </a:extLst>
          </p:cNvPr>
          <p:cNvSpPr txBox="1"/>
          <p:nvPr/>
        </p:nvSpPr>
        <p:spPr>
          <a:xfrm>
            <a:off x="7056831" y="5120768"/>
            <a:ext cx="4248727" cy="738664"/>
          </a:xfrm>
          <a:prstGeom prst="rect">
            <a:avLst/>
          </a:prstGeom>
          <a:noFill/>
        </p:spPr>
        <p:txBody>
          <a:bodyPr wrap="square" rtlCol="0">
            <a:spAutoFit/>
          </a:bodyPr>
          <a:lstStyle/>
          <a:p>
            <a:pPr algn="ctr"/>
            <a:r>
              <a:rPr lang="en-US" sz="1400" dirty="0"/>
              <a:t>To estimate the standalone business valuation we leveraged the material included in the folder “Business Valuation”</a:t>
            </a:r>
          </a:p>
        </p:txBody>
      </p:sp>
    </p:spTree>
    <p:extLst>
      <p:ext uri="{BB962C8B-B14F-4D97-AF65-F5344CB8AC3E}">
        <p14:creationId xmlns:p14="http://schemas.microsoft.com/office/powerpoint/2010/main" val="23275822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2" name="Chevron 10">
            <a:extLst>
              <a:ext uri="{FF2B5EF4-FFF2-40B4-BE49-F238E27FC236}">
                <a16:creationId xmlns:a16="http://schemas.microsoft.com/office/drawing/2014/main" id="{A805F83B-56F3-4732-C8D6-01B46F9E97BE}"/>
              </a:ext>
            </a:extLst>
          </p:cNvPr>
          <p:cNvSpPr/>
          <p:nvPr/>
        </p:nvSpPr>
        <p:spPr bwMode="auto">
          <a:xfrm>
            <a:off x="2363718"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F61CD57B-87F9-E5AA-587B-4F15F205DB50}"/>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B271EE0A-8E1B-1191-691A-A2D8E22B7388}"/>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18178DD7-E82B-BF79-4501-B16314C89E87}"/>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3B5A7E2E-1267-983F-C1EA-8105932F8B50}"/>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FA717BFA-05A8-ED01-6CB7-BBDB735CC91A}"/>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8BCE0EA7-8409-7B5F-1F8E-73445B227D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5ADEE204-7280-9A62-53A1-7F7DB5F551E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7F8BD381-44B7-71F4-15F2-A35DD8AA765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DEC2C730-8922-7853-4498-CA5C45AAEB6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4897546D-2580-030B-21EC-572FB533EFC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F7DF67A2-0519-777E-31DE-47425ED169EC}"/>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37908B5-BD39-04C4-3D64-0EFEFE69C7AC}"/>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C1DACED-55E7-7BE1-0847-D2671B72802F}"/>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EBECA2F-A321-19D2-0AE8-6253AC3DD7C2}"/>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C51E6AC-2F76-1930-9C07-23AF2B405F45}"/>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CD85CF5-404E-397E-70D8-83BA0F3B5E5E}"/>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83C39AF7-D964-2CF5-08A3-53F41F4664E0}"/>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3" name="Rectangle 22">
            <a:extLst>
              <a:ext uri="{FF2B5EF4-FFF2-40B4-BE49-F238E27FC236}">
                <a16:creationId xmlns:a16="http://schemas.microsoft.com/office/drawing/2014/main" id="{F0FBDB42-00EF-F29D-1B47-595514D8A8C1}"/>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B0F0"/>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24" name="Rectangle 23">
            <a:extLst>
              <a:ext uri="{FF2B5EF4-FFF2-40B4-BE49-F238E27FC236}">
                <a16:creationId xmlns:a16="http://schemas.microsoft.com/office/drawing/2014/main" id="{C5F4FA14-F859-3FD4-501E-94663384C2E8}"/>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25" name="Rectangle 24">
            <a:extLst>
              <a:ext uri="{FF2B5EF4-FFF2-40B4-BE49-F238E27FC236}">
                <a16:creationId xmlns:a16="http://schemas.microsoft.com/office/drawing/2014/main" id="{CB3A2E3B-C69D-0D68-3EC2-99DB3384AADD}"/>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26" name="Graphic 25" descr="Statistics outline">
            <a:extLst>
              <a:ext uri="{FF2B5EF4-FFF2-40B4-BE49-F238E27FC236}">
                <a16:creationId xmlns:a16="http://schemas.microsoft.com/office/drawing/2014/main" id="{847B4F26-49F4-6B0B-4DDF-AD15CC6BEBA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27" name="Rectangle 26">
            <a:extLst>
              <a:ext uri="{FF2B5EF4-FFF2-40B4-BE49-F238E27FC236}">
                <a16:creationId xmlns:a16="http://schemas.microsoft.com/office/drawing/2014/main" id="{90BA11AA-7C89-6FD3-C8CB-883D849A777D}"/>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17078173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ummary of our financial statement analysis</a:t>
            </a:r>
            <a:br>
              <a:rPr lang="en-US" sz="2400" dirty="0"/>
            </a:br>
            <a:r>
              <a:rPr lang="en-US" sz="2400" b="0" dirty="0"/>
              <a:t>Profitability ratio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7</a:t>
            </a:fld>
            <a:endParaRPr lang="en-US" dirty="0">
              <a:solidFill>
                <a:srgbClr val="ADAFBB"/>
              </a:solidFill>
            </a:endParaRPr>
          </a:p>
        </p:txBody>
      </p:sp>
      <p:sp>
        <p:nvSpPr>
          <p:cNvPr id="11" name="Rectangle 10">
            <a:extLst>
              <a:ext uri="{FF2B5EF4-FFF2-40B4-BE49-F238E27FC236}">
                <a16:creationId xmlns:a16="http://schemas.microsoft.com/office/drawing/2014/main" id="{8009F738-E0FB-49AF-84A4-872AC13FD349}"/>
              </a:ext>
            </a:extLst>
          </p:cNvPr>
          <p:cNvSpPr>
            <a:spLocks noChangeArrowheads="1"/>
          </p:cNvSpPr>
          <p:nvPr/>
        </p:nvSpPr>
        <p:spPr bwMode="auto">
          <a:xfrm>
            <a:off x="822032" y="4669294"/>
            <a:ext cx="1627200" cy="622800"/>
          </a:xfrm>
          <a:prstGeom prst="rect">
            <a:avLst/>
          </a:prstGeom>
          <a:solidFill>
            <a:schemeClr val="bg1">
              <a:lumMod val="85000"/>
            </a:schemeClr>
          </a:solidFill>
          <a:ln w="19050" algn="ctr">
            <a:noFill/>
            <a:miter lim="800000"/>
            <a:headEnd type="none" w="sm" len="sm"/>
            <a:tailEnd type="none" w="sm" len="sm"/>
          </a:ln>
          <a:effectLst/>
        </p:spPr>
        <p:txBody>
          <a:bodyPr wrap="square" lIns="18000" tIns="18000" rIns="18000" bIns="18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noProof="0" dirty="0">
                <a:ln>
                  <a:noFill/>
                </a:ln>
                <a:effectLst/>
                <a:uLnTx/>
                <a:uFillTx/>
              </a:rPr>
              <a:t>Return on Capital Employed (%)</a:t>
            </a:r>
          </a:p>
        </p:txBody>
      </p:sp>
      <p:sp>
        <p:nvSpPr>
          <p:cNvPr id="12" name="Rectangle 11">
            <a:extLst>
              <a:ext uri="{FF2B5EF4-FFF2-40B4-BE49-F238E27FC236}">
                <a16:creationId xmlns:a16="http://schemas.microsoft.com/office/drawing/2014/main" id="{7483FA76-C2A2-46CB-B95D-23CC40129CBA}"/>
              </a:ext>
            </a:extLst>
          </p:cNvPr>
          <p:cNvSpPr>
            <a:spLocks noChangeArrowheads="1"/>
          </p:cNvSpPr>
          <p:nvPr/>
        </p:nvSpPr>
        <p:spPr bwMode="auto">
          <a:xfrm>
            <a:off x="822032" y="3815165"/>
            <a:ext cx="1627200" cy="622800"/>
          </a:xfrm>
          <a:prstGeom prst="rect">
            <a:avLst/>
          </a:prstGeom>
          <a:solidFill>
            <a:schemeClr val="bg1">
              <a:lumMod val="85000"/>
            </a:schemeClr>
          </a:solidFill>
          <a:ln w="19050" algn="ctr">
            <a:noFill/>
            <a:miter lim="800000"/>
            <a:headEnd type="none" w="sm" len="sm"/>
            <a:tailEnd type="none" w="sm" len="sm"/>
          </a:ln>
          <a:effectLst/>
        </p:spPr>
        <p:txBody>
          <a:bodyPr wrap="square" lIns="18000" tIns="18000" rIns="18000" bIns="18000" anchor="ctr"/>
          <a:lstStyle/>
          <a:p>
            <a:pPr marL="0" marR="0" lvl="0" indent="0" algn="ctr" defTabSz="623853" eaLnBrk="1" fontAlgn="base" latinLnBrk="0" hangingPunct="1">
              <a:lnSpc>
                <a:spcPct val="100000"/>
              </a:lnSpc>
              <a:spcBef>
                <a:spcPts val="200"/>
              </a:spcBef>
              <a:spcAft>
                <a:spcPts val="200"/>
              </a:spcAft>
              <a:buClr>
                <a:srgbClr val="000000"/>
              </a:buClr>
              <a:buSzTx/>
              <a:buFontTx/>
              <a:buNone/>
              <a:tabLst/>
              <a:defRPr/>
            </a:pPr>
            <a:r>
              <a:rPr kumimoji="0" lang="en-US" sz="1050" b="1" i="0" u="none" strike="noStrike" kern="0" cap="none" spc="0" normalizeH="0" baseline="0" noProof="0" dirty="0">
                <a:ln>
                  <a:noFill/>
                </a:ln>
                <a:effectLst/>
                <a:uLnTx/>
                <a:uFillTx/>
                <a:cs typeface="Times New Roman" pitchFamily="18" charset="0"/>
              </a:rPr>
              <a:t>Return on net assets (%)</a:t>
            </a:r>
          </a:p>
        </p:txBody>
      </p:sp>
      <p:sp>
        <p:nvSpPr>
          <p:cNvPr id="17" name="Rectangle 16">
            <a:extLst>
              <a:ext uri="{FF2B5EF4-FFF2-40B4-BE49-F238E27FC236}">
                <a16:creationId xmlns:a16="http://schemas.microsoft.com/office/drawing/2014/main" id="{51179865-7C5A-4C81-92C4-DDED872555C8}"/>
              </a:ext>
            </a:extLst>
          </p:cNvPr>
          <p:cNvSpPr>
            <a:spLocks noChangeArrowheads="1"/>
          </p:cNvSpPr>
          <p:nvPr/>
        </p:nvSpPr>
        <p:spPr bwMode="auto">
          <a:xfrm>
            <a:off x="822032" y="5523425"/>
            <a:ext cx="1627200" cy="622800"/>
          </a:xfrm>
          <a:prstGeom prst="rect">
            <a:avLst/>
          </a:prstGeom>
          <a:solidFill>
            <a:schemeClr val="bg1">
              <a:lumMod val="85000"/>
            </a:schemeClr>
          </a:solidFill>
          <a:ln w="19050" algn="ctr">
            <a:noFill/>
            <a:miter lim="800000"/>
            <a:headEnd type="none" w="sm" len="sm"/>
            <a:tailEnd type="none" w="sm" len="sm"/>
          </a:ln>
          <a:effectLst/>
        </p:spPr>
        <p:txBody>
          <a:bodyPr wrap="square" lIns="18000" tIns="18000" rIns="18000" bIns="18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noProof="0" dirty="0">
                <a:ln>
                  <a:noFill/>
                </a:ln>
                <a:effectLst/>
                <a:uLnTx/>
                <a:uFillTx/>
              </a:rPr>
              <a:t>Return On Funds Employed (%)</a:t>
            </a:r>
          </a:p>
        </p:txBody>
      </p:sp>
      <p:sp>
        <p:nvSpPr>
          <p:cNvPr id="19" name="Rectangle 18">
            <a:extLst>
              <a:ext uri="{FF2B5EF4-FFF2-40B4-BE49-F238E27FC236}">
                <a16:creationId xmlns:a16="http://schemas.microsoft.com/office/drawing/2014/main" id="{6ACD38A2-B5B2-4FD3-A26B-080E79930354}"/>
              </a:ext>
            </a:extLst>
          </p:cNvPr>
          <p:cNvSpPr>
            <a:spLocks noChangeArrowheads="1"/>
          </p:cNvSpPr>
          <p:nvPr/>
        </p:nvSpPr>
        <p:spPr bwMode="auto">
          <a:xfrm>
            <a:off x="822032" y="2961036"/>
            <a:ext cx="1627200" cy="622800"/>
          </a:xfrm>
          <a:prstGeom prst="rect">
            <a:avLst/>
          </a:prstGeom>
          <a:solidFill>
            <a:schemeClr val="bg1">
              <a:lumMod val="85000"/>
            </a:schemeClr>
          </a:solidFill>
          <a:ln w="19050" algn="ctr">
            <a:noFill/>
            <a:miter lim="800000"/>
            <a:headEnd type="none" w="sm" len="sm"/>
            <a:tailEnd type="none" w="sm" len="sm"/>
          </a:ln>
          <a:effectLst/>
        </p:spPr>
        <p:txBody>
          <a:bodyPr wrap="square" lIns="18000" tIns="18000" rIns="18000" bIns="18000" anchor="ctr"/>
          <a:lstStyle/>
          <a:p>
            <a:pPr marL="0" marR="0" lvl="0" indent="0" algn="ctr" defTabSz="623853" eaLnBrk="1" fontAlgn="base" latinLnBrk="0" hangingPunct="1">
              <a:lnSpc>
                <a:spcPct val="100000"/>
              </a:lnSpc>
              <a:spcBef>
                <a:spcPts val="200"/>
              </a:spcBef>
              <a:spcAft>
                <a:spcPts val="200"/>
              </a:spcAft>
              <a:buClr>
                <a:srgbClr val="000000"/>
              </a:buClr>
              <a:buSzTx/>
              <a:buFontTx/>
              <a:buNone/>
              <a:tabLst/>
              <a:defRPr/>
            </a:pPr>
            <a:r>
              <a:rPr kumimoji="0" lang="en-US" sz="1050" b="1" i="0" u="none" strike="noStrike" kern="0" cap="none" spc="0" normalizeH="0" baseline="0" noProof="0" dirty="0">
                <a:ln>
                  <a:noFill/>
                </a:ln>
                <a:effectLst/>
                <a:uLnTx/>
                <a:uFillTx/>
                <a:cs typeface="Times New Roman" pitchFamily="18" charset="0"/>
              </a:rPr>
              <a:t>Return on equity </a:t>
            </a:r>
          </a:p>
          <a:p>
            <a:pPr marL="0" marR="0" lvl="0" indent="0" algn="ctr" defTabSz="623853" eaLnBrk="1" fontAlgn="base" latinLnBrk="0" hangingPunct="1">
              <a:lnSpc>
                <a:spcPct val="100000"/>
              </a:lnSpc>
              <a:spcBef>
                <a:spcPts val="200"/>
              </a:spcBef>
              <a:spcAft>
                <a:spcPts val="200"/>
              </a:spcAft>
              <a:buClr>
                <a:srgbClr val="000000"/>
              </a:buClr>
              <a:buSzTx/>
              <a:buFontTx/>
              <a:buNone/>
              <a:tabLst/>
              <a:defRPr/>
            </a:pPr>
            <a:r>
              <a:rPr kumimoji="0" lang="en-US" sz="1050" b="1" i="0" u="none" strike="noStrike" kern="0" cap="none" spc="0" normalizeH="0" baseline="0" noProof="0" dirty="0">
                <a:ln>
                  <a:noFill/>
                </a:ln>
                <a:effectLst/>
                <a:uLnTx/>
                <a:uFillTx/>
                <a:cs typeface="Times New Roman" pitchFamily="18" charset="0"/>
              </a:rPr>
              <a:t>(%)</a:t>
            </a:r>
          </a:p>
        </p:txBody>
      </p:sp>
      <p:sp>
        <p:nvSpPr>
          <p:cNvPr id="20" name="Rectangle 19">
            <a:extLst>
              <a:ext uri="{FF2B5EF4-FFF2-40B4-BE49-F238E27FC236}">
                <a16:creationId xmlns:a16="http://schemas.microsoft.com/office/drawing/2014/main" id="{156CE602-CB64-44DA-B10F-7C8BC354488A}"/>
              </a:ext>
            </a:extLst>
          </p:cNvPr>
          <p:cNvSpPr>
            <a:spLocks noChangeArrowheads="1"/>
          </p:cNvSpPr>
          <p:nvPr/>
        </p:nvSpPr>
        <p:spPr bwMode="auto">
          <a:xfrm>
            <a:off x="822032" y="2106907"/>
            <a:ext cx="1627200" cy="622800"/>
          </a:xfrm>
          <a:prstGeom prst="rect">
            <a:avLst/>
          </a:prstGeom>
          <a:solidFill>
            <a:schemeClr val="bg1">
              <a:lumMod val="85000"/>
            </a:schemeClr>
          </a:solidFill>
          <a:ln w="19050" algn="ctr">
            <a:noFill/>
            <a:miter lim="800000"/>
            <a:headEnd type="none" w="sm" len="sm"/>
            <a:tailEnd type="none" w="sm" len="sm"/>
          </a:ln>
          <a:effectLst/>
        </p:spPr>
        <p:txBody>
          <a:bodyPr wrap="square" lIns="18000" tIns="18000" rIns="18000" bIns="18000" anchor="ctr"/>
          <a:lstStyle/>
          <a:p>
            <a:pPr marL="0" marR="0" lvl="0" indent="0" algn="ctr" defTabSz="623853" eaLnBrk="1" fontAlgn="base" latinLnBrk="0" hangingPunct="1">
              <a:lnSpc>
                <a:spcPct val="100000"/>
              </a:lnSpc>
              <a:spcBef>
                <a:spcPts val="200"/>
              </a:spcBef>
              <a:spcAft>
                <a:spcPts val="200"/>
              </a:spcAft>
              <a:buClr>
                <a:srgbClr val="000000"/>
              </a:buClr>
              <a:buSzTx/>
              <a:buFontTx/>
              <a:buNone/>
              <a:tabLst/>
              <a:defRPr/>
            </a:pPr>
            <a:r>
              <a:rPr kumimoji="0" lang="en-US" sz="1050" b="1" i="0" u="none" strike="noStrike" kern="0" cap="none" spc="0" normalizeH="0" baseline="0" noProof="0" dirty="0">
                <a:ln>
                  <a:noFill/>
                </a:ln>
                <a:effectLst/>
                <a:uLnTx/>
                <a:uFillTx/>
                <a:cs typeface="Times New Roman" pitchFamily="18" charset="0"/>
              </a:rPr>
              <a:t>Return on sales</a:t>
            </a:r>
          </a:p>
          <a:p>
            <a:pPr marL="0" marR="0" lvl="0" indent="0" algn="ctr" defTabSz="623853" eaLnBrk="1" fontAlgn="base" latinLnBrk="0" hangingPunct="1">
              <a:lnSpc>
                <a:spcPct val="100000"/>
              </a:lnSpc>
              <a:spcBef>
                <a:spcPts val="200"/>
              </a:spcBef>
              <a:spcAft>
                <a:spcPts val="200"/>
              </a:spcAft>
              <a:buClr>
                <a:srgbClr val="000000"/>
              </a:buClr>
              <a:buSzTx/>
              <a:buFontTx/>
              <a:buNone/>
              <a:tabLst/>
              <a:defRPr/>
            </a:pPr>
            <a:r>
              <a:rPr kumimoji="0" lang="en-US" sz="1050" b="1" i="0" u="none" strike="noStrike" kern="0" cap="none" spc="0" normalizeH="0" baseline="0" noProof="0" dirty="0">
                <a:ln>
                  <a:noFill/>
                </a:ln>
                <a:effectLst/>
                <a:uLnTx/>
                <a:uFillTx/>
                <a:cs typeface="Times New Roman" pitchFamily="18" charset="0"/>
              </a:rPr>
              <a:t>(%)</a:t>
            </a:r>
          </a:p>
        </p:txBody>
      </p:sp>
      <p:sp>
        <p:nvSpPr>
          <p:cNvPr id="23" name="TextBox 22">
            <a:extLst>
              <a:ext uri="{FF2B5EF4-FFF2-40B4-BE49-F238E27FC236}">
                <a16:creationId xmlns:a16="http://schemas.microsoft.com/office/drawing/2014/main" id="{58ABD854-86E5-4DB4-AD1F-495C9FF58FA3}"/>
              </a:ext>
            </a:extLst>
          </p:cNvPr>
          <p:cNvSpPr txBox="1"/>
          <p:nvPr/>
        </p:nvSpPr>
        <p:spPr>
          <a:xfrm>
            <a:off x="2486153" y="1810621"/>
            <a:ext cx="98777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Worst peer</a:t>
            </a:r>
          </a:p>
        </p:txBody>
      </p:sp>
      <p:sp>
        <p:nvSpPr>
          <p:cNvPr id="24" name="TextBox 23">
            <a:extLst>
              <a:ext uri="{FF2B5EF4-FFF2-40B4-BE49-F238E27FC236}">
                <a16:creationId xmlns:a16="http://schemas.microsoft.com/office/drawing/2014/main" id="{B9B2BF0F-552C-4838-AB1B-7F20A98B3901}"/>
              </a:ext>
            </a:extLst>
          </p:cNvPr>
          <p:cNvSpPr txBox="1"/>
          <p:nvPr/>
        </p:nvSpPr>
        <p:spPr>
          <a:xfrm>
            <a:off x="10063134" y="1810621"/>
            <a:ext cx="883575"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Best peer</a:t>
            </a:r>
          </a:p>
        </p:txBody>
      </p:sp>
      <p:cxnSp>
        <p:nvCxnSpPr>
          <p:cNvPr id="25" name="Straight Connector 24">
            <a:extLst>
              <a:ext uri="{FF2B5EF4-FFF2-40B4-BE49-F238E27FC236}">
                <a16:creationId xmlns:a16="http://schemas.microsoft.com/office/drawing/2014/main" id="{6D61DAB2-7548-4E9C-811C-042AF0B2C89B}"/>
              </a:ext>
            </a:extLst>
          </p:cNvPr>
          <p:cNvCxnSpPr>
            <a:cxnSpLocks/>
          </p:cNvCxnSpPr>
          <p:nvPr/>
        </p:nvCxnSpPr>
        <p:spPr>
          <a:xfrm>
            <a:off x="2865738" y="2421014"/>
            <a:ext cx="7651172" cy="0"/>
          </a:xfrm>
          <a:prstGeom prst="line">
            <a:avLst/>
          </a:prstGeom>
          <a:noFill/>
          <a:ln w="12700" cap="flat" cmpd="sng" algn="ctr">
            <a:solidFill>
              <a:srgbClr val="002776">
                <a:shade val="95000"/>
                <a:satMod val="105000"/>
              </a:srgbClr>
            </a:solidFill>
            <a:prstDash val="dash"/>
          </a:ln>
          <a:effectLst/>
        </p:spPr>
      </p:cxnSp>
      <p:cxnSp>
        <p:nvCxnSpPr>
          <p:cNvPr id="26" name="Straight Connector 25">
            <a:extLst>
              <a:ext uri="{FF2B5EF4-FFF2-40B4-BE49-F238E27FC236}">
                <a16:creationId xmlns:a16="http://schemas.microsoft.com/office/drawing/2014/main" id="{278E90F9-6FBB-49EE-9668-A5C7A26DA94D}"/>
              </a:ext>
            </a:extLst>
          </p:cNvPr>
          <p:cNvCxnSpPr>
            <a:cxnSpLocks/>
          </p:cNvCxnSpPr>
          <p:nvPr/>
        </p:nvCxnSpPr>
        <p:spPr>
          <a:xfrm>
            <a:off x="2865738" y="3270525"/>
            <a:ext cx="7651172" cy="0"/>
          </a:xfrm>
          <a:prstGeom prst="line">
            <a:avLst/>
          </a:prstGeom>
          <a:noFill/>
          <a:ln w="12700" cap="flat" cmpd="sng" algn="ctr">
            <a:solidFill>
              <a:srgbClr val="002776">
                <a:shade val="95000"/>
                <a:satMod val="105000"/>
              </a:srgbClr>
            </a:solidFill>
            <a:prstDash val="dash"/>
          </a:ln>
          <a:effectLst/>
        </p:spPr>
      </p:cxnSp>
      <p:cxnSp>
        <p:nvCxnSpPr>
          <p:cNvPr id="27" name="Straight Connector 26">
            <a:extLst>
              <a:ext uri="{FF2B5EF4-FFF2-40B4-BE49-F238E27FC236}">
                <a16:creationId xmlns:a16="http://schemas.microsoft.com/office/drawing/2014/main" id="{2F023CE0-04F9-4B42-AAE6-9E6D7F0710BA}"/>
              </a:ext>
            </a:extLst>
          </p:cNvPr>
          <p:cNvCxnSpPr>
            <a:cxnSpLocks/>
          </p:cNvCxnSpPr>
          <p:nvPr/>
        </p:nvCxnSpPr>
        <p:spPr>
          <a:xfrm>
            <a:off x="2865738" y="4120036"/>
            <a:ext cx="7651172" cy="0"/>
          </a:xfrm>
          <a:prstGeom prst="line">
            <a:avLst/>
          </a:prstGeom>
          <a:noFill/>
          <a:ln w="12700" cap="flat" cmpd="sng" algn="ctr">
            <a:solidFill>
              <a:srgbClr val="002776">
                <a:shade val="95000"/>
                <a:satMod val="105000"/>
              </a:srgbClr>
            </a:solidFill>
            <a:prstDash val="dash"/>
          </a:ln>
          <a:effectLst/>
        </p:spPr>
      </p:cxnSp>
      <p:cxnSp>
        <p:nvCxnSpPr>
          <p:cNvPr id="28" name="Straight Connector 27">
            <a:extLst>
              <a:ext uri="{FF2B5EF4-FFF2-40B4-BE49-F238E27FC236}">
                <a16:creationId xmlns:a16="http://schemas.microsoft.com/office/drawing/2014/main" id="{A925B8E8-8F96-4C08-A76A-9FA8A981C2D1}"/>
              </a:ext>
            </a:extLst>
          </p:cNvPr>
          <p:cNvCxnSpPr>
            <a:cxnSpLocks/>
          </p:cNvCxnSpPr>
          <p:nvPr/>
        </p:nvCxnSpPr>
        <p:spPr>
          <a:xfrm>
            <a:off x="2865738" y="4969547"/>
            <a:ext cx="7651172" cy="0"/>
          </a:xfrm>
          <a:prstGeom prst="line">
            <a:avLst/>
          </a:prstGeom>
          <a:noFill/>
          <a:ln w="12700" cap="flat" cmpd="sng" algn="ctr">
            <a:solidFill>
              <a:srgbClr val="002776">
                <a:shade val="95000"/>
                <a:satMod val="105000"/>
              </a:srgbClr>
            </a:solidFill>
            <a:prstDash val="dash"/>
          </a:ln>
          <a:effectLst/>
        </p:spPr>
      </p:cxnSp>
      <p:cxnSp>
        <p:nvCxnSpPr>
          <p:cNvPr id="29" name="Straight Connector 28">
            <a:extLst>
              <a:ext uri="{FF2B5EF4-FFF2-40B4-BE49-F238E27FC236}">
                <a16:creationId xmlns:a16="http://schemas.microsoft.com/office/drawing/2014/main" id="{E9DCF84A-706F-49C9-B8C7-F60634711873}"/>
              </a:ext>
            </a:extLst>
          </p:cNvPr>
          <p:cNvCxnSpPr>
            <a:cxnSpLocks/>
          </p:cNvCxnSpPr>
          <p:nvPr/>
        </p:nvCxnSpPr>
        <p:spPr>
          <a:xfrm>
            <a:off x="2865738" y="5818265"/>
            <a:ext cx="7651172" cy="0"/>
          </a:xfrm>
          <a:prstGeom prst="line">
            <a:avLst/>
          </a:prstGeom>
          <a:noFill/>
          <a:ln w="12700" cap="flat" cmpd="sng" algn="ctr">
            <a:solidFill>
              <a:srgbClr val="002776">
                <a:shade val="95000"/>
                <a:satMod val="105000"/>
              </a:srgbClr>
            </a:solidFill>
            <a:prstDash val="dash"/>
          </a:ln>
          <a:effectLst/>
        </p:spPr>
      </p:cxnSp>
      <p:sp>
        <p:nvSpPr>
          <p:cNvPr id="30" name="Oval 29">
            <a:extLst>
              <a:ext uri="{FF2B5EF4-FFF2-40B4-BE49-F238E27FC236}">
                <a16:creationId xmlns:a16="http://schemas.microsoft.com/office/drawing/2014/main" id="{69BF88CE-7AEE-44B1-925A-30DC979DA0B4}"/>
              </a:ext>
            </a:extLst>
          </p:cNvPr>
          <p:cNvSpPr/>
          <p:nvPr/>
        </p:nvSpPr>
        <p:spPr bwMode="auto">
          <a:xfrm>
            <a:off x="4290038" y="2283854"/>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1" name="Oval 30">
            <a:extLst>
              <a:ext uri="{FF2B5EF4-FFF2-40B4-BE49-F238E27FC236}">
                <a16:creationId xmlns:a16="http://schemas.microsoft.com/office/drawing/2014/main" id="{36FD3934-CA74-467D-BB62-AB511BA8282F}"/>
              </a:ext>
            </a:extLst>
          </p:cNvPr>
          <p:cNvSpPr/>
          <p:nvPr/>
        </p:nvSpPr>
        <p:spPr bwMode="auto">
          <a:xfrm>
            <a:off x="7209656" y="2283854"/>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2" name="Oval 31">
            <a:extLst>
              <a:ext uri="{FF2B5EF4-FFF2-40B4-BE49-F238E27FC236}">
                <a16:creationId xmlns:a16="http://schemas.microsoft.com/office/drawing/2014/main" id="{82EB1123-5AEA-4795-827E-F1C13A5FCF2C}"/>
              </a:ext>
            </a:extLst>
          </p:cNvPr>
          <p:cNvSpPr/>
          <p:nvPr/>
        </p:nvSpPr>
        <p:spPr bwMode="auto">
          <a:xfrm>
            <a:off x="9055753" y="2283854"/>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3" name="Oval 32">
            <a:extLst>
              <a:ext uri="{FF2B5EF4-FFF2-40B4-BE49-F238E27FC236}">
                <a16:creationId xmlns:a16="http://schemas.microsoft.com/office/drawing/2014/main" id="{E3D180F8-06E3-4717-ABB0-1955E08E590B}"/>
              </a:ext>
            </a:extLst>
          </p:cNvPr>
          <p:cNvSpPr/>
          <p:nvPr/>
        </p:nvSpPr>
        <p:spPr bwMode="auto">
          <a:xfrm>
            <a:off x="4227147" y="3982876"/>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4" name="Oval 33">
            <a:extLst>
              <a:ext uri="{FF2B5EF4-FFF2-40B4-BE49-F238E27FC236}">
                <a16:creationId xmlns:a16="http://schemas.microsoft.com/office/drawing/2014/main" id="{52160A46-CF23-4362-BD0E-7E27ADBFFDEA}"/>
              </a:ext>
            </a:extLst>
          </p:cNvPr>
          <p:cNvSpPr/>
          <p:nvPr/>
        </p:nvSpPr>
        <p:spPr bwMode="auto">
          <a:xfrm>
            <a:off x="7148321" y="3982876"/>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5" name="Oval 34">
            <a:extLst>
              <a:ext uri="{FF2B5EF4-FFF2-40B4-BE49-F238E27FC236}">
                <a16:creationId xmlns:a16="http://schemas.microsoft.com/office/drawing/2014/main" id="{D5E039DC-354F-4019-A3DD-38AEBEE8F052}"/>
              </a:ext>
            </a:extLst>
          </p:cNvPr>
          <p:cNvSpPr/>
          <p:nvPr/>
        </p:nvSpPr>
        <p:spPr bwMode="auto">
          <a:xfrm>
            <a:off x="3676191" y="4832387"/>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6" name="Oval 35">
            <a:extLst>
              <a:ext uri="{FF2B5EF4-FFF2-40B4-BE49-F238E27FC236}">
                <a16:creationId xmlns:a16="http://schemas.microsoft.com/office/drawing/2014/main" id="{171AA2BB-9F0A-4EAD-988E-A6D0F58877FC}"/>
              </a:ext>
            </a:extLst>
          </p:cNvPr>
          <p:cNvSpPr/>
          <p:nvPr/>
        </p:nvSpPr>
        <p:spPr bwMode="auto">
          <a:xfrm>
            <a:off x="6869916" y="3133365"/>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7" name="Oval 36">
            <a:extLst>
              <a:ext uri="{FF2B5EF4-FFF2-40B4-BE49-F238E27FC236}">
                <a16:creationId xmlns:a16="http://schemas.microsoft.com/office/drawing/2014/main" id="{6B02D8C6-2470-421B-9D53-7E1CDA294BF1}"/>
              </a:ext>
            </a:extLst>
          </p:cNvPr>
          <p:cNvSpPr/>
          <p:nvPr/>
        </p:nvSpPr>
        <p:spPr bwMode="auto">
          <a:xfrm>
            <a:off x="8493312" y="3133365"/>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8" name="Oval 37">
            <a:extLst>
              <a:ext uri="{FF2B5EF4-FFF2-40B4-BE49-F238E27FC236}">
                <a16:creationId xmlns:a16="http://schemas.microsoft.com/office/drawing/2014/main" id="{6A469546-F9FB-41ED-860D-F0CC7EF54F64}"/>
              </a:ext>
            </a:extLst>
          </p:cNvPr>
          <p:cNvSpPr/>
          <p:nvPr/>
        </p:nvSpPr>
        <p:spPr bwMode="auto">
          <a:xfrm>
            <a:off x="5559523" y="3133365"/>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9" name="Oval 38">
            <a:extLst>
              <a:ext uri="{FF2B5EF4-FFF2-40B4-BE49-F238E27FC236}">
                <a16:creationId xmlns:a16="http://schemas.microsoft.com/office/drawing/2014/main" id="{F5D1400E-0DF2-43A1-BDB3-2518FF1958E8}"/>
              </a:ext>
            </a:extLst>
          </p:cNvPr>
          <p:cNvSpPr/>
          <p:nvPr/>
        </p:nvSpPr>
        <p:spPr bwMode="auto">
          <a:xfrm>
            <a:off x="5560061" y="3982876"/>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0" name="Oval 39">
            <a:extLst>
              <a:ext uri="{FF2B5EF4-FFF2-40B4-BE49-F238E27FC236}">
                <a16:creationId xmlns:a16="http://schemas.microsoft.com/office/drawing/2014/main" id="{06F9F101-AB8E-466C-9FD6-F5C607A9A5B2}"/>
              </a:ext>
            </a:extLst>
          </p:cNvPr>
          <p:cNvSpPr/>
          <p:nvPr/>
        </p:nvSpPr>
        <p:spPr bwMode="auto">
          <a:xfrm>
            <a:off x="7148321" y="4832387"/>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1" name="Oval 40">
            <a:extLst>
              <a:ext uri="{FF2B5EF4-FFF2-40B4-BE49-F238E27FC236}">
                <a16:creationId xmlns:a16="http://schemas.microsoft.com/office/drawing/2014/main" id="{93A7C2CD-0B78-47DA-8637-A556EA36BC68}"/>
              </a:ext>
            </a:extLst>
          </p:cNvPr>
          <p:cNvSpPr/>
          <p:nvPr/>
        </p:nvSpPr>
        <p:spPr bwMode="auto">
          <a:xfrm>
            <a:off x="5560061" y="4832387"/>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2" name="Oval 41">
            <a:extLst>
              <a:ext uri="{FF2B5EF4-FFF2-40B4-BE49-F238E27FC236}">
                <a16:creationId xmlns:a16="http://schemas.microsoft.com/office/drawing/2014/main" id="{13DF948D-D3EA-4DF2-AD89-EC4921F0B5B4}"/>
              </a:ext>
            </a:extLst>
          </p:cNvPr>
          <p:cNvSpPr/>
          <p:nvPr/>
        </p:nvSpPr>
        <p:spPr bwMode="auto">
          <a:xfrm>
            <a:off x="8612762" y="5681105"/>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3" name="Oval 42">
            <a:extLst>
              <a:ext uri="{FF2B5EF4-FFF2-40B4-BE49-F238E27FC236}">
                <a16:creationId xmlns:a16="http://schemas.microsoft.com/office/drawing/2014/main" id="{CDC6A29A-2995-49FA-B1E7-FA163569BCA9}"/>
              </a:ext>
            </a:extLst>
          </p:cNvPr>
          <p:cNvSpPr/>
          <p:nvPr/>
        </p:nvSpPr>
        <p:spPr bwMode="auto">
          <a:xfrm>
            <a:off x="3676191" y="5681105"/>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4" name="Oval 43">
            <a:extLst>
              <a:ext uri="{FF2B5EF4-FFF2-40B4-BE49-F238E27FC236}">
                <a16:creationId xmlns:a16="http://schemas.microsoft.com/office/drawing/2014/main" id="{6819E15D-097D-4FB3-8C93-B7C11B7C5709}"/>
              </a:ext>
            </a:extLst>
          </p:cNvPr>
          <p:cNvSpPr/>
          <p:nvPr/>
        </p:nvSpPr>
        <p:spPr bwMode="auto">
          <a:xfrm>
            <a:off x="6869916" y="5681105"/>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5" name="TextBox 44">
            <a:extLst>
              <a:ext uri="{FF2B5EF4-FFF2-40B4-BE49-F238E27FC236}">
                <a16:creationId xmlns:a16="http://schemas.microsoft.com/office/drawing/2014/main" id="{5D220A28-25EC-4630-8DFB-A8FE356DB82E}"/>
              </a:ext>
            </a:extLst>
          </p:cNvPr>
          <p:cNvSpPr txBox="1"/>
          <p:nvPr/>
        </p:nvSpPr>
        <p:spPr>
          <a:xfrm>
            <a:off x="4223898" y="2025491"/>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5%</a:t>
            </a:r>
          </a:p>
        </p:txBody>
      </p:sp>
      <p:sp>
        <p:nvSpPr>
          <p:cNvPr id="46" name="TextBox 45">
            <a:extLst>
              <a:ext uri="{FF2B5EF4-FFF2-40B4-BE49-F238E27FC236}">
                <a16:creationId xmlns:a16="http://schemas.microsoft.com/office/drawing/2014/main" id="{55BDA8BF-7C0D-4992-A972-3845F2C610ED}"/>
              </a:ext>
            </a:extLst>
          </p:cNvPr>
          <p:cNvSpPr txBox="1"/>
          <p:nvPr/>
        </p:nvSpPr>
        <p:spPr>
          <a:xfrm>
            <a:off x="7143516" y="2025491"/>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8%</a:t>
            </a:r>
          </a:p>
        </p:txBody>
      </p:sp>
      <p:sp>
        <p:nvSpPr>
          <p:cNvPr id="47" name="TextBox 46">
            <a:extLst>
              <a:ext uri="{FF2B5EF4-FFF2-40B4-BE49-F238E27FC236}">
                <a16:creationId xmlns:a16="http://schemas.microsoft.com/office/drawing/2014/main" id="{57A3DBDD-CB2C-467D-B4F8-3946ED5CDA56}"/>
              </a:ext>
            </a:extLst>
          </p:cNvPr>
          <p:cNvSpPr txBox="1"/>
          <p:nvPr/>
        </p:nvSpPr>
        <p:spPr>
          <a:xfrm>
            <a:off x="8989613" y="2025491"/>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9%</a:t>
            </a:r>
          </a:p>
        </p:txBody>
      </p:sp>
      <p:sp>
        <p:nvSpPr>
          <p:cNvPr id="48" name="TextBox 47">
            <a:extLst>
              <a:ext uri="{FF2B5EF4-FFF2-40B4-BE49-F238E27FC236}">
                <a16:creationId xmlns:a16="http://schemas.microsoft.com/office/drawing/2014/main" id="{C3225138-83FA-4E1D-98D5-F7AD6AF73E8D}"/>
              </a:ext>
            </a:extLst>
          </p:cNvPr>
          <p:cNvSpPr txBox="1"/>
          <p:nvPr/>
        </p:nvSpPr>
        <p:spPr>
          <a:xfrm>
            <a:off x="5511923" y="2830884"/>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2%</a:t>
            </a:r>
          </a:p>
        </p:txBody>
      </p:sp>
      <p:sp>
        <p:nvSpPr>
          <p:cNvPr id="49" name="TextBox 48">
            <a:extLst>
              <a:ext uri="{FF2B5EF4-FFF2-40B4-BE49-F238E27FC236}">
                <a16:creationId xmlns:a16="http://schemas.microsoft.com/office/drawing/2014/main" id="{13F46A06-62C0-4F89-A1F9-A0D7FC6D6B6D}"/>
              </a:ext>
            </a:extLst>
          </p:cNvPr>
          <p:cNvSpPr txBox="1"/>
          <p:nvPr/>
        </p:nvSpPr>
        <p:spPr>
          <a:xfrm>
            <a:off x="6779722" y="2830884"/>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4%</a:t>
            </a:r>
          </a:p>
        </p:txBody>
      </p:sp>
      <p:sp>
        <p:nvSpPr>
          <p:cNvPr id="50" name="TextBox 49">
            <a:extLst>
              <a:ext uri="{FF2B5EF4-FFF2-40B4-BE49-F238E27FC236}">
                <a16:creationId xmlns:a16="http://schemas.microsoft.com/office/drawing/2014/main" id="{25484693-2384-4676-B4DE-FA3510A8DD71}"/>
              </a:ext>
            </a:extLst>
          </p:cNvPr>
          <p:cNvSpPr txBox="1"/>
          <p:nvPr/>
        </p:nvSpPr>
        <p:spPr>
          <a:xfrm>
            <a:off x="8448839" y="2830884"/>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8%</a:t>
            </a:r>
          </a:p>
        </p:txBody>
      </p:sp>
      <p:sp>
        <p:nvSpPr>
          <p:cNvPr id="51" name="TextBox 50">
            <a:extLst>
              <a:ext uri="{FF2B5EF4-FFF2-40B4-BE49-F238E27FC236}">
                <a16:creationId xmlns:a16="http://schemas.microsoft.com/office/drawing/2014/main" id="{4D839233-4D15-44D8-8D97-AEDEE5FF7E01}"/>
              </a:ext>
            </a:extLst>
          </p:cNvPr>
          <p:cNvSpPr txBox="1"/>
          <p:nvPr/>
        </p:nvSpPr>
        <p:spPr>
          <a:xfrm>
            <a:off x="5503106" y="36690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2" name="TextBox 51">
            <a:extLst>
              <a:ext uri="{FF2B5EF4-FFF2-40B4-BE49-F238E27FC236}">
                <a16:creationId xmlns:a16="http://schemas.microsoft.com/office/drawing/2014/main" id="{F2F72B9A-FE9B-4B44-8E17-6275A499CFC5}"/>
              </a:ext>
            </a:extLst>
          </p:cNvPr>
          <p:cNvSpPr txBox="1"/>
          <p:nvPr/>
        </p:nvSpPr>
        <p:spPr>
          <a:xfrm>
            <a:off x="4149629" y="36690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3" name="TextBox 52">
            <a:extLst>
              <a:ext uri="{FF2B5EF4-FFF2-40B4-BE49-F238E27FC236}">
                <a16:creationId xmlns:a16="http://schemas.microsoft.com/office/drawing/2014/main" id="{92C19C27-1556-4B83-9F97-06A6F12B6E1D}"/>
              </a:ext>
            </a:extLst>
          </p:cNvPr>
          <p:cNvSpPr txBox="1"/>
          <p:nvPr/>
        </p:nvSpPr>
        <p:spPr>
          <a:xfrm>
            <a:off x="7074725" y="36690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4" name="TextBox 53">
            <a:extLst>
              <a:ext uri="{FF2B5EF4-FFF2-40B4-BE49-F238E27FC236}">
                <a16:creationId xmlns:a16="http://schemas.microsoft.com/office/drawing/2014/main" id="{A7D9B8B8-D5D0-4B21-9F82-1C7D95FB6AF2}"/>
              </a:ext>
            </a:extLst>
          </p:cNvPr>
          <p:cNvSpPr txBox="1"/>
          <p:nvPr/>
        </p:nvSpPr>
        <p:spPr>
          <a:xfrm>
            <a:off x="5503106" y="45072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5" name="TextBox 54">
            <a:extLst>
              <a:ext uri="{FF2B5EF4-FFF2-40B4-BE49-F238E27FC236}">
                <a16:creationId xmlns:a16="http://schemas.microsoft.com/office/drawing/2014/main" id="{FEB194EE-F595-4F25-8BE7-4F236E52DA54}"/>
              </a:ext>
            </a:extLst>
          </p:cNvPr>
          <p:cNvSpPr txBox="1"/>
          <p:nvPr/>
        </p:nvSpPr>
        <p:spPr>
          <a:xfrm>
            <a:off x="3638351" y="45072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6" name="TextBox 55">
            <a:extLst>
              <a:ext uri="{FF2B5EF4-FFF2-40B4-BE49-F238E27FC236}">
                <a16:creationId xmlns:a16="http://schemas.microsoft.com/office/drawing/2014/main" id="{DB175B14-CEC4-4057-B9DD-0E014EDA2827}"/>
              </a:ext>
            </a:extLst>
          </p:cNvPr>
          <p:cNvSpPr txBox="1"/>
          <p:nvPr/>
        </p:nvSpPr>
        <p:spPr>
          <a:xfrm>
            <a:off x="7074725" y="45072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7" name="TextBox 56">
            <a:extLst>
              <a:ext uri="{FF2B5EF4-FFF2-40B4-BE49-F238E27FC236}">
                <a16:creationId xmlns:a16="http://schemas.microsoft.com/office/drawing/2014/main" id="{46BE663F-DD6F-4896-B340-3ECA51D3E7C5}"/>
              </a:ext>
            </a:extLst>
          </p:cNvPr>
          <p:cNvSpPr txBox="1"/>
          <p:nvPr/>
        </p:nvSpPr>
        <p:spPr>
          <a:xfrm>
            <a:off x="6800964" y="53454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8" name="TextBox 57">
            <a:extLst>
              <a:ext uri="{FF2B5EF4-FFF2-40B4-BE49-F238E27FC236}">
                <a16:creationId xmlns:a16="http://schemas.microsoft.com/office/drawing/2014/main" id="{64CCDE5E-A606-40C9-9BF2-36C60F1E1620}"/>
              </a:ext>
            </a:extLst>
          </p:cNvPr>
          <p:cNvSpPr txBox="1"/>
          <p:nvPr/>
        </p:nvSpPr>
        <p:spPr>
          <a:xfrm>
            <a:off x="3638351" y="53454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9" name="TextBox 58">
            <a:extLst>
              <a:ext uri="{FF2B5EF4-FFF2-40B4-BE49-F238E27FC236}">
                <a16:creationId xmlns:a16="http://schemas.microsoft.com/office/drawing/2014/main" id="{53AEF009-C2C5-4E33-BE1F-BF54CE8466C9}"/>
              </a:ext>
            </a:extLst>
          </p:cNvPr>
          <p:cNvSpPr txBox="1"/>
          <p:nvPr/>
        </p:nvSpPr>
        <p:spPr>
          <a:xfrm>
            <a:off x="8529899" y="53454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60" name="Oval 59">
            <a:extLst>
              <a:ext uri="{FF2B5EF4-FFF2-40B4-BE49-F238E27FC236}">
                <a16:creationId xmlns:a16="http://schemas.microsoft.com/office/drawing/2014/main" id="{D7FE79AC-8102-42A4-85B2-BA3C025F66A2}"/>
              </a:ext>
            </a:extLst>
          </p:cNvPr>
          <p:cNvSpPr/>
          <p:nvPr/>
        </p:nvSpPr>
        <p:spPr bwMode="auto">
          <a:xfrm>
            <a:off x="10243766" y="361285"/>
            <a:ext cx="27432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1" name="TextBox 60">
            <a:extLst>
              <a:ext uri="{FF2B5EF4-FFF2-40B4-BE49-F238E27FC236}">
                <a16:creationId xmlns:a16="http://schemas.microsoft.com/office/drawing/2014/main" id="{CFCE2A13-3281-42F0-9E3D-DCF6B6A3BA07}"/>
              </a:ext>
            </a:extLst>
          </p:cNvPr>
          <p:cNvSpPr txBox="1"/>
          <p:nvPr/>
        </p:nvSpPr>
        <p:spPr>
          <a:xfrm>
            <a:off x="10155390" y="364996"/>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X</a:t>
            </a:r>
          </a:p>
        </p:txBody>
      </p:sp>
      <p:sp>
        <p:nvSpPr>
          <p:cNvPr id="62" name="Oval 61">
            <a:extLst>
              <a:ext uri="{FF2B5EF4-FFF2-40B4-BE49-F238E27FC236}">
                <a16:creationId xmlns:a16="http://schemas.microsoft.com/office/drawing/2014/main" id="{B24BB676-FDCB-46DE-A580-B04F9193D736}"/>
              </a:ext>
            </a:extLst>
          </p:cNvPr>
          <p:cNvSpPr/>
          <p:nvPr/>
        </p:nvSpPr>
        <p:spPr bwMode="auto">
          <a:xfrm>
            <a:off x="10242590" y="734911"/>
            <a:ext cx="27432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3" name="TextBox 62">
            <a:extLst>
              <a:ext uri="{FF2B5EF4-FFF2-40B4-BE49-F238E27FC236}">
                <a16:creationId xmlns:a16="http://schemas.microsoft.com/office/drawing/2014/main" id="{BE93EF03-424F-4C8C-8E9B-3B7101B0632F}"/>
              </a:ext>
            </a:extLst>
          </p:cNvPr>
          <p:cNvSpPr txBox="1"/>
          <p:nvPr/>
        </p:nvSpPr>
        <p:spPr>
          <a:xfrm>
            <a:off x="10155390" y="738622"/>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Y</a:t>
            </a:r>
          </a:p>
        </p:txBody>
      </p:sp>
      <p:sp>
        <p:nvSpPr>
          <p:cNvPr id="64" name="Oval 63">
            <a:extLst>
              <a:ext uri="{FF2B5EF4-FFF2-40B4-BE49-F238E27FC236}">
                <a16:creationId xmlns:a16="http://schemas.microsoft.com/office/drawing/2014/main" id="{98FCC64D-DC7C-493D-9174-F3D4AA26D031}"/>
              </a:ext>
            </a:extLst>
          </p:cNvPr>
          <p:cNvSpPr/>
          <p:nvPr/>
        </p:nvSpPr>
        <p:spPr bwMode="auto">
          <a:xfrm>
            <a:off x="10242590" y="1108537"/>
            <a:ext cx="27432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5" name="TextBox 64">
            <a:extLst>
              <a:ext uri="{FF2B5EF4-FFF2-40B4-BE49-F238E27FC236}">
                <a16:creationId xmlns:a16="http://schemas.microsoft.com/office/drawing/2014/main" id="{2DF91A00-00B2-4F8A-B4CE-AFC2BBD8D28D}"/>
              </a:ext>
            </a:extLst>
          </p:cNvPr>
          <p:cNvSpPr txBox="1"/>
          <p:nvPr/>
        </p:nvSpPr>
        <p:spPr>
          <a:xfrm>
            <a:off x="10155390" y="1112248"/>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Z</a:t>
            </a:r>
          </a:p>
        </p:txBody>
      </p:sp>
    </p:spTree>
    <p:extLst>
      <p:ext uri="{BB962C8B-B14F-4D97-AF65-F5344CB8AC3E}">
        <p14:creationId xmlns:p14="http://schemas.microsoft.com/office/powerpoint/2010/main" val="23580973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ummary of our financial statement analysis</a:t>
            </a:r>
            <a:br>
              <a:rPr lang="en-US" sz="2400" dirty="0"/>
            </a:br>
            <a:r>
              <a:rPr lang="en-US" sz="2400" b="0" dirty="0"/>
              <a:t>Profitability ratio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8</a:t>
            </a:fld>
            <a:endParaRPr lang="en-US" dirty="0">
              <a:solidFill>
                <a:srgbClr val="ADAFBB"/>
              </a:solidFill>
            </a:endParaRPr>
          </a:p>
        </p:txBody>
      </p:sp>
      <p:sp>
        <p:nvSpPr>
          <p:cNvPr id="11" name="Rectangle 10">
            <a:extLst>
              <a:ext uri="{FF2B5EF4-FFF2-40B4-BE49-F238E27FC236}">
                <a16:creationId xmlns:a16="http://schemas.microsoft.com/office/drawing/2014/main" id="{8009F738-E0FB-49AF-84A4-872AC13FD349}"/>
              </a:ext>
            </a:extLst>
          </p:cNvPr>
          <p:cNvSpPr>
            <a:spLocks noChangeArrowheads="1"/>
          </p:cNvSpPr>
          <p:nvPr/>
        </p:nvSpPr>
        <p:spPr bwMode="auto">
          <a:xfrm>
            <a:off x="822032" y="4669294"/>
            <a:ext cx="1627200" cy="622800"/>
          </a:xfrm>
          <a:prstGeom prst="rect">
            <a:avLst/>
          </a:prstGeom>
          <a:solidFill>
            <a:schemeClr val="bg1">
              <a:lumMod val="85000"/>
            </a:schemeClr>
          </a:solidFill>
          <a:ln w="19050" algn="ctr">
            <a:noFill/>
            <a:miter lim="800000"/>
            <a:headEnd type="none" w="sm" len="sm"/>
            <a:tailEnd type="none" w="sm" len="sm"/>
          </a:ln>
          <a:effectLst/>
        </p:spPr>
        <p:txBody>
          <a:bodyPr wrap="square" lIns="18000" tIns="18000" rIns="18000" bIns="18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noProof="0" dirty="0">
                <a:ln>
                  <a:noFill/>
                </a:ln>
                <a:effectLst/>
                <a:uLnTx/>
                <a:uFillTx/>
              </a:rPr>
              <a:t>Return on Capital Employed (%)</a:t>
            </a:r>
          </a:p>
        </p:txBody>
      </p:sp>
      <p:sp>
        <p:nvSpPr>
          <p:cNvPr id="12" name="Rectangle 11">
            <a:extLst>
              <a:ext uri="{FF2B5EF4-FFF2-40B4-BE49-F238E27FC236}">
                <a16:creationId xmlns:a16="http://schemas.microsoft.com/office/drawing/2014/main" id="{7483FA76-C2A2-46CB-B95D-23CC40129CBA}"/>
              </a:ext>
            </a:extLst>
          </p:cNvPr>
          <p:cNvSpPr>
            <a:spLocks noChangeArrowheads="1"/>
          </p:cNvSpPr>
          <p:nvPr/>
        </p:nvSpPr>
        <p:spPr bwMode="auto">
          <a:xfrm>
            <a:off x="822032" y="3815165"/>
            <a:ext cx="1627200" cy="622800"/>
          </a:xfrm>
          <a:prstGeom prst="rect">
            <a:avLst/>
          </a:prstGeom>
          <a:solidFill>
            <a:schemeClr val="bg1">
              <a:lumMod val="85000"/>
            </a:schemeClr>
          </a:solidFill>
          <a:ln w="19050" algn="ctr">
            <a:noFill/>
            <a:miter lim="800000"/>
            <a:headEnd type="none" w="sm" len="sm"/>
            <a:tailEnd type="none" w="sm" len="sm"/>
          </a:ln>
          <a:effectLst/>
        </p:spPr>
        <p:txBody>
          <a:bodyPr wrap="square" lIns="18000" tIns="18000" rIns="18000" bIns="18000" anchor="ctr"/>
          <a:lstStyle/>
          <a:p>
            <a:pPr marL="0" marR="0" lvl="0" indent="0" algn="ctr" defTabSz="623853" eaLnBrk="1" fontAlgn="base" latinLnBrk="0" hangingPunct="1">
              <a:lnSpc>
                <a:spcPct val="100000"/>
              </a:lnSpc>
              <a:spcBef>
                <a:spcPts val="200"/>
              </a:spcBef>
              <a:spcAft>
                <a:spcPts val="200"/>
              </a:spcAft>
              <a:buClr>
                <a:srgbClr val="000000"/>
              </a:buClr>
              <a:buSzTx/>
              <a:buFontTx/>
              <a:buNone/>
              <a:tabLst/>
              <a:defRPr/>
            </a:pPr>
            <a:r>
              <a:rPr kumimoji="0" lang="en-US" sz="1050" b="1" i="0" u="none" strike="noStrike" kern="0" cap="none" spc="0" normalizeH="0" baseline="0" noProof="0" dirty="0">
                <a:ln>
                  <a:noFill/>
                </a:ln>
                <a:effectLst/>
                <a:uLnTx/>
                <a:uFillTx/>
                <a:cs typeface="Times New Roman" pitchFamily="18" charset="0"/>
              </a:rPr>
              <a:t>Return on net assets (%)</a:t>
            </a:r>
          </a:p>
        </p:txBody>
      </p:sp>
      <p:sp>
        <p:nvSpPr>
          <p:cNvPr id="17" name="Rectangle 16">
            <a:extLst>
              <a:ext uri="{FF2B5EF4-FFF2-40B4-BE49-F238E27FC236}">
                <a16:creationId xmlns:a16="http://schemas.microsoft.com/office/drawing/2014/main" id="{51179865-7C5A-4C81-92C4-DDED872555C8}"/>
              </a:ext>
            </a:extLst>
          </p:cNvPr>
          <p:cNvSpPr>
            <a:spLocks noChangeArrowheads="1"/>
          </p:cNvSpPr>
          <p:nvPr/>
        </p:nvSpPr>
        <p:spPr bwMode="auto">
          <a:xfrm>
            <a:off x="822032" y="5523425"/>
            <a:ext cx="1627200" cy="622800"/>
          </a:xfrm>
          <a:prstGeom prst="rect">
            <a:avLst/>
          </a:prstGeom>
          <a:solidFill>
            <a:schemeClr val="bg1">
              <a:lumMod val="85000"/>
            </a:schemeClr>
          </a:solidFill>
          <a:ln w="19050" algn="ctr">
            <a:noFill/>
            <a:miter lim="800000"/>
            <a:headEnd type="none" w="sm" len="sm"/>
            <a:tailEnd type="none" w="sm" len="sm"/>
          </a:ln>
          <a:effectLst/>
        </p:spPr>
        <p:txBody>
          <a:bodyPr wrap="square" lIns="18000" tIns="18000" rIns="18000" bIns="18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1" i="0" u="none" strike="noStrike" kern="0" cap="none" spc="0" normalizeH="0" baseline="0" noProof="0" dirty="0">
                <a:ln>
                  <a:noFill/>
                </a:ln>
                <a:effectLst/>
                <a:uLnTx/>
                <a:uFillTx/>
              </a:rPr>
              <a:t>Return On Funds Employed (%)</a:t>
            </a:r>
          </a:p>
        </p:txBody>
      </p:sp>
      <p:sp>
        <p:nvSpPr>
          <p:cNvPr id="19" name="Rectangle 18">
            <a:extLst>
              <a:ext uri="{FF2B5EF4-FFF2-40B4-BE49-F238E27FC236}">
                <a16:creationId xmlns:a16="http://schemas.microsoft.com/office/drawing/2014/main" id="{6ACD38A2-B5B2-4FD3-A26B-080E79930354}"/>
              </a:ext>
            </a:extLst>
          </p:cNvPr>
          <p:cNvSpPr>
            <a:spLocks noChangeArrowheads="1"/>
          </p:cNvSpPr>
          <p:nvPr/>
        </p:nvSpPr>
        <p:spPr bwMode="auto">
          <a:xfrm>
            <a:off x="822032" y="2961036"/>
            <a:ext cx="1627200" cy="622800"/>
          </a:xfrm>
          <a:prstGeom prst="rect">
            <a:avLst/>
          </a:prstGeom>
          <a:solidFill>
            <a:schemeClr val="bg1">
              <a:lumMod val="85000"/>
            </a:schemeClr>
          </a:solidFill>
          <a:ln w="19050" algn="ctr">
            <a:noFill/>
            <a:miter lim="800000"/>
            <a:headEnd type="none" w="sm" len="sm"/>
            <a:tailEnd type="none" w="sm" len="sm"/>
          </a:ln>
          <a:effectLst/>
        </p:spPr>
        <p:txBody>
          <a:bodyPr wrap="square" lIns="18000" tIns="18000" rIns="18000" bIns="18000" anchor="ctr"/>
          <a:lstStyle/>
          <a:p>
            <a:pPr marL="0" marR="0" lvl="0" indent="0" algn="ctr" defTabSz="623853" eaLnBrk="1" fontAlgn="base" latinLnBrk="0" hangingPunct="1">
              <a:lnSpc>
                <a:spcPct val="100000"/>
              </a:lnSpc>
              <a:spcBef>
                <a:spcPts val="200"/>
              </a:spcBef>
              <a:spcAft>
                <a:spcPts val="200"/>
              </a:spcAft>
              <a:buClr>
                <a:srgbClr val="000000"/>
              </a:buClr>
              <a:buSzTx/>
              <a:buFontTx/>
              <a:buNone/>
              <a:tabLst/>
              <a:defRPr/>
            </a:pPr>
            <a:r>
              <a:rPr kumimoji="0" lang="en-US" sz="1050" b="1" i="0" u="none" strike="noStrike" kern="0" cap="none" spc="0" normalizeH="0" baseline="0" noProof="0" dirty="0">
                <a:ln>
                  <a:noFill/>
                </a:ln>
                <a:effectLst/>
                <a:uLnTx/>
                <a:uFillTx/>
                <a:cs typeface="Times New Roman" pitchFamily="18" charset="0"/>
              </a:rPr>
              <a:t>Return on equity </a:t>
            </a:r>
          </a:p>
          <a:p>
            <a:pPr marL="0" marR="0" lvl="0" indent="0" algn="ctr" defTabSz="623853" eaLnBrk="1" fontAlgn="base" latinLnBrk="0" hangingPunct="1">
              <a:lnSpc>
                <a:spcPct val="100000"/>
              </a:lnSpc>
              <a:spcBef>
                <a:spcPts val="200"/>
              </a:spcBef>
              <a:spcAft>
                <a:spcPts val="200"/>
              </a:spcAft>
              <a:buClr>
                <a:srgbClr val="000000"/>
              </a:buClr>
              <a:buSzTx/>
              <a:buFontTx/>
              <a:buNone/>
              <a:tabLst/>
              <a:defRPr/>
            </a:pPr>
            <a:r>
              <a:rPr kumimoji="0" lang="en-US" sz="1050" b="1" i="0" u="none" strike="noStrike" kern="0" cap="none" spc="0" normalizeH="0" baseline="0" noProof="0" dirty="0">
                <a:ln>
                  <a:noFill/>
                </a:ln>
                <a:effectLst/>
                <a:uLnTx/>
                <a:uFillTx/>
                <a:cs typeface="Times New Roman" pitchFamily="18" charset="0"/>
              </a:rPr>
              <a:t>(%)</a:t>
            </a:r>
          </a:p>
        </p:txBody>
      </p:sp>
      <p:sp>
        <p:nvSpPr>
          <p:cNvPr id="20" name="Rectangle 19">
            <a:extLst>
              <a:ext uri="{FF2B5EF4-FFF2-40B4-BE49-F238E27FC236}">
                <a16:creationId xmlns:a16="http://schemas.microsoft.com/office/drawing/2014/main" id="{156CE602-CB64-44DA-B10F-7C8BC354488A}"/>
              </a:ext>
            </a:extLst>
          </p:cNvPr>
          <p:cNvSpPr>
            <a:spLocks noChangeArrowheads="1"/>
          </p:cNvSpPr>
          <p:nvPr/>
        </p:nvSpPr>
        <p:spPr bwMode="auto">
          <a:xfrm>
            <a:off x="822032" y="2106907"/>
            <a:ext cx="1627200" cy="622800"/>
          </a:xfrm>
          <a:prstGeom prst="rect">
            <a:avLst/>
          </a:prstGeom>
          <a:solidFill>
            <a:schemeClr val="bg1">
              <a:lumMod val="85000"/>
            </a:schemeClr>
          </a:solidFill>
          <a:ln w="19050" algn="ctr">
            <a:noFill/>
            <a:miter lim="800000"/>
            <a:headEnd type="none" w="sm" len="sm"/>
            <a:tailEnd type="none" w="sm" len="sm"/>
          </a:ln>
          <a:effectLst/>
        </p:spPr>
        <p:txBody>
          <a:bodyPr wrap="square" lIns="18000" tIns="18000" rIns="18000" bIns="18000" anchor="ctr"/>
          <a:lstStyle/>
          <a:p>
            <a:pPr marL="0" marR="0" lvl="0" indent="0" algn="ctr" defTabSz="623853" eaLnBrk="1" fontAlgn="base" latinLnBrk="0" hangingPunct="1">
              <a:lnSpc>
                <a:spcPct val="100000"/>
              </a:lnSpc>
              <a:spcBef>
                <a:spcPts val="200"/>
              </a:spcBef>
              <a:spcAft>
                <a:spcPts val="200"/>
              </a:spcAft>
              <a:buClr>
                <a:srgbClr val="000000"/>
              </a:buClr>
              <a:buSzTx/>
              <a:buFontTx/>
              <a:buNone/>
              <a:tabLst/>
              <a:defRPr/>
            </a:pPr>
            <a:r>
              <a:rPr kumimoji="0" lang="en-US" sz="1050" b="1" i="0" u="none" strike="noStrike" kern="0" cap="none" spc="0" normalizeH="0" baseline="0" noProof="0" dirty="0">
                <a:ln>
                  <a:noFill/>
                </a:ln>
                <a:effectLst/>
                <a:uLnTx/>
                <a:uFillTx/>
                <a:cs typeface="Times New Roman" pitchFamily="18" charset="0"/>
              </a:rPr>
              <a:t>Return on sales</a:t>
            </a:r>
          </a:p>
          <a:p>
            <a:pPr marL="0" marR="0" lvl="0" indent="0" algn="ctr" defTabSz="623853" eaLnBrk="1" fontAlgn="base" latinLnBrk="0" hangingPunct="1">
              <a:lnSpc>
                <a:spcPct val="100000"/>
              </a:lnSpc>
              <a:spcBef>
                <a:spcPts val="200"/>
              </a:spcBef>
              <a:spcAft>
                <a:spcPts val="200"/>
              </a:spcAft>
              <a:buClr>
                <a:srgbClr val="000000"/>
              </a:buClr>
              <a:buSzTx/>
              <a:buFontTx/>
              <a:buNone/>
              <a:tabLst/>
              <a:defRPr/>
            </a:pPr>
            <a:r>
              <a:rPr kumimoji="0" lang="en-US" sz="1050" b="1" i="0" u="none" strike="noStrike" kern="0" cap="none" spc="0" normalizeH="0" baseline="0" noProof="0" dirty="0">
                <a:ln>
                  <a:noFill/>
                </a:ln>
                <a:effectLst/>
                <a:uLnTx/>
                <a:uFillTx/>
                <a:cs typeface="Times New Roman" pitchFamily="18" charset="0"/>
              </a:rPr>
              <a:t>(%)</a:t>
            </a:r>
          </a:p>
        </p:txBody>
      </p:sp>
      <p:sp>
        <p:nvSpPr>
          <p:cNvPr id="23" name="TextBox 22">
            <a:extLst>
              <a:ext uri="{FF2B5EF4-FFF2-40B4-BE49-F238E27FC236}">
                <a16:creationId xmlns:a16="http://schemas.microsoft.com/office/drawing/2014/main" id="{58ABD854-86E5-4DB4-AD1F-495C9FF58FA3}"/>
              </a:ext>
            </a:extLst>
          </p:cNvPr>
          <p:cNvSpPr txBox="1"/>
          <p:nvPr/>
        </p:nvSpPr>
        <p:spPr>
          <a:xfrm>
            <a:off x="2486153" y="1810621"/>
            <a:ext cx="98777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Worst peer</a:t>
            </a:r>
          </a:p>
        </p:txBody>
      </p:sp>
      <p:sp>
        <p:nvSpPr>
          <p:cNvPr id="24" name="TextBox 23">
            <a:extLst>
              <a:ext uri="{FF2B5EF4-FFF2-40B4-BE49-F238E27FC236}">
                <a16:creationId xmlns:a16="http://schemas.microsoft.com/office/drawing/2014/main" id="{B9B2BF0F-552C-4838-AB1B-7F20A98B3901}"/>
              </a:ext>
            </a:extLst>
          </p:cNvPr>
          <p:cNvSpPr txBox="1"/>
          <p:nvPr/>
        </p:nvSpPr>
        <p:spPr>
          <a:xfrm>
            <a:off x="10063134" y="1810621"/>
            <a:ext cx="883575"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Best peer</a:t>
            </a:r>
          </a:p>
        </p:txBody>
      </p:sp>
      <p:cxnSp>
        <p:nvCxnSpPr>
          <p:cNvPr id="25" name="Straight Connector 24">
            <a:extLst>
              <a:ext uri="{FF2B5EF4-FFF2-40B4-BE49-F238E27FC236}">
                <a16:creationId xmlns:a16="http://schemas.microsoft.com/office/drawing/2014/main" id="{6D61DAB2-7548-4E9C-811C-042AF0B2C89B}"/>
              </a:ext>
            </a:extLst>
          </p:cNvPr>
          <p:cNvCxnSpPr>
            <a:cxnSpLocks/>
          </p:cNvCxnSpPr>
          <p:nvPr/>
        </p:nvCxnSpPr>
        <p:spPr>
          <a:xfrm>
            <a:off x="2865738" y="2421014"/>
            <a:ext cx="7651172" cy="0"/>
          </a:xfrm>
          <a:prstGeom prst="line">
            <a:avLst/>
          </a:prstGeom>
          <a:noFill/>
          <a:ln w="12700" cap="flat" cmpd="sng" algn="ctr">
            <a:solidFill>
              <a:srgbClr val="002776">
                <a:shade val="95000"/>
                <a:satMod val="105000"/>
              </a:srgbClr>
            </a:solidFill>
            <a:prstDash val="dash"/>
          </a:ln>
          <a:effectLst/>
        </p:spPr>
      </p:cxnSp>
      <p:cxnSp>
        <p:nvCxnSpPr>
          <p:cNvPr id="26" name="Straight Connector 25">
            <a:extLst>
              <a:ext uri="{FF2B5EF4-FFF2-40B4-BE49-F238E27FC236}">
                <a16:creationId xmlns:a16="http://schemas.microsoft.com/office/drawing/2014/main" id="{278E90F9-6FBB-49EE-9668-A5C7A26DA94D}"/>
              </a:ext>
            </a:extLst>
          </p:cNvPr>
          <p:cNvCxnSpPr>
            <a:cxnSpLocks/>
          </p:cNvCxnSpPr>
          <p:nvPr/>
        </p:nvCxnSpPr>
        <p:spPr>
          <a:xfrm>
            <a:off x="2865738" y="3270525"/>
            <a:ext cx="7651172" cy="0"/>
          </a:xfrm>
          <a:prstGeom prst="line">
            <a:avLst/>
          </a:prstGeom>
          <a:noFill/>
          <a:ln w="12700" cap="flat" cmpd="sng" algn="ctr">
            <a:solidFill>
              <a:srgbClr val="002776">
                <a:shade val="95000"/>
                <a:satMod val="105000"/>
              </a:srgbClr>
            </a:solidFill>
            <a:prstDash val="dash"/>
          </a:ln>
          <a:effectLst/>
        </p:spPr>
      </p:cxnSp>
      <p:cxnSp>
        <p:nvCxnSpPr>
          <p:cNvPr id="27" name="Straight Connector 26">
            <a:extLst>
              <a:ext uri="{FF2B5EF4-FFF2-40B4-BE49-F238E27FC236}">
                <a16:creationId xmlns:a16="http://schemas.microsoft.com/office/drawing/2014/main" id="{2F023CE0-04F9-4B42-AAE6-9E6D7F0710BA}"/>
              </a:ext>
            </a:extLst>
          </p:cNvPr>
          <p:cNvCxnSpPr>
            <a:cxnSpLocks/>
          </p:cNvCxnSpPr>
          <p:nvPr/>
        </p:nvCxnSpPr>
        <p:spPr>
          <a:xfrm>
            <a:off x="2865738" y="4120036"/>
            <a:ext cx="7651172" cy="0"/>
          </a:xfrm>
          <a:prstGeom prst="line">
            <a:avLst/>
          </a:prstGeom>
          <a:noFill/>
          <a:ln w="12700" cap="flat" cmpd="sng" algn="ctr">
            <a:solidFill>
              <a:srgbClr val="002776">
                <a:shade val="95000"/>
                <a:satMod val="105000"/>
              </a:srgbClr>
            </a:solidFill>
            <a:prstDash val="dash"/>
          </a:ln>
          <a:effectLst/>
        </p:spPr>
      </p:cxnSp>
      <p:cxnSp>
        <p:nvCxnSpPr>
          <p:cNvPr id="28" name="Straight Connector 27">
            <a:extLst>
              <a:ext uri="{FF2B5EF4-FFF2-40B4-BE49-F238E27FC236}">
                <a16:creationId xmlns:a16="http://schemas.microsoft.com/office/drawing/2014/main" id="{A925B8E8-8F96-4C08-A76A-9FA8A981C2D1}"/>
              </a:ext>
            </a:extLst>
          </p:cNvPr>
          <p:cNvCxnSpPr>
            <a:cxnSpLocks/>
          </p:cNvCxnSpPr>
          <p:nvPr/>
        </p:nvCxnSpPr>
        <p:spPr>
          <a:xfrm>
            <a:off x="2865738" y="4969547"/>
            <a:ext cx="7651172" cy="0"/>
          </a:xfrm>
          <a:prstGeom prst="line">
            <a:avLst/>
          </a:prstGeom>
          <a:noFill/>
          <a:ln w="12700" cap="flat" cmpd="sng" algn="ctr">
            <a:solidFill>
              <a:srgbClr val="002776">
                <a:shade val="95000"/>
                <a:satMod val="105000"/>
              </a:srgbClr>
            </a:solidFill>
            <a:prstDash val="dash"/>
          </a:ln>
          <a:effectLst/>
        </p:spPr>
      </p:cxnSp>
      <p:cxnSp>
        <p:nvCxnSpPr>
          <p:cNvPr id="29" name="Straight Connector 28">
            <a:extLst>
              <a:ext uri="{FF2B5EF4-FFF2-40B4-BE49-F238E27FC236}">
                <a16:creationId xmlns:a16="http://schemas.microsoft.com/office/drawing/2014/main" id="{E9DCF84A-706F-49C9-B8C7-F60634711873}"/>
              </a:ext>
            </a:extLst>
          </p:cNvPr>
          <p:cNvCxnSpPr>
            <a:cxnSpLocks/>
          </p:cNvCxnSpPr>
          <p:nvPr/>
        </p:nvCxnSpPr>
        <p:spPr>
          <a:xfrm>
            <a:off x="2865738" y="5818265"/>
            <a:ext cx="7651172" cy="0"/>
          </a:xfrm>
          <a:prstGeom prst="line">
            <a:avLst/>
          </a:prstGeom>
          <a:noFill/>
          <a:ln w="12700" cap="flat" cmpd="sng" algn="ctr">
            <a:solidFill>
              <a:srgbClr val="002776">
                <a:shade val="95000"/>
                <a:satMod val="105000"/>
              </a:srgbClr>
            </a:solidFill>
            <a:prstDash val="dash"/>
          </a:ln>
          <a:effectLst/>
        </p:spPr>
      </p:cxnSp>
      <p:sp>
        <p:nvSpPr>
          <p:cNvPr id="30" name="Oval 29">
            <a:extLst>
              <a:ext uri="{FF2B5EF4-FFF2-40B4-BE49-F238E27FC236}">
                <a16:creationId xmlns:a16="http://schemas.microsoft.com/office/drawing/2014/main" id="{69BF88CE-7AEE-44B1-925A-30DC979DA0B4}"/>
              </a:ext>
            </a:extLst>
          </p:cNvPr>
          <p:cNvSpPr/>
          <p:nvPr/>
        </p:nvSpPr>
        <p:spPr bwMode="auto">
          <a:xfrm>
            <a:off x="4290038" y="2283854"/>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1" name="Oval 30">
            <a:extLst>
              <a:ext uri="{FF2B5EF4-FFF2-40B4-BE49-F238E27FC236}">
                <a16:creationId xmlns:a16="http://schemas.microsoft.com/office/drawing/2014/main" id="{36FD3934-CA74-467D-BB62-AB511BA8282F}"/>
              </a:ext>
            </a:extLst>
          </p:cNvPr>
          <p:cNvSpPr/>
          <p:nvPr/>
        </p:nvSpPr>
        <p:spPr bwMode="auto">
          <a:xfrm>
            <a:off x="7209656" y="2283854"/>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2" name="Oval 31">
            <a:extLst>
              <a:ext uri="{FF2B5EF4-FFF2-40B4-BE49-F238E27FC236}">
                <a16:creationId xmlns:a16="http://schemas.microsoft.com/office/drawing/2014/main" id="{82EB1123-5AEA-4795-827E-F1C13A5FCF2C}"/>
              </a:ext>
            </a:extLst>
          </p:cNvPr>
          <p:cNvSpPr/>
          <p:nvPr/>
        </p:nvSpPr>
        <p:spPr bwMode="auto">
          <a:xfrm>
            <a:off x="9055753" y="2283854"/>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3" name="Oval 32">
            <a:extLst>
              <a:ext uri="{FF2B5EF4-FFF2-40B4-BE49-F238E27FC236}">
                <a16:creationId xmlns:a16="http://schemas.microsoft.com/office/drawing/2014/main" id="{E3D180F8-06E3-4717-ABB0-1955E08E590B}"/>
              </a:ext>
            </a:extLst>
          </p:cNvPr>
          <p:cNvSpPr/>
          <p:nvPr/>
        </p:nvSpPr>
        <p:spPr bwMode="auto">
          <a:xfrm>
            <a:off x="4227147" y="3982876"/>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4" name="Oval 33">
            <a:extLst>
              <a:ext uri="{FF2B5EF4-FFF2-40B4-BE49-F238E27FC236}">
                <a16:creationId xmlns:a16="http://schemas.microsoft.com/office/drawing/2014/main" id="{52160A46-CF23-4362-BD0E-7E27ADBFFDEA}"/>
              </a:ext>
            </a:extLst>
          </p:cNvPr>
          <p:cNvSpPr/>
          <p:nvPr/>
        </p:nvSpPr>
        <p:spPr bwMode="auto">
          <a:xfrm>
            <a:off x="7148321" y="3982876"/>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5" name="Oval 34">
            <a:extLst>
              <a:ext uri="{FF2B5EF4-FFF2-40B4-BE49-F238E27FC236}">
                <a16:creationId xmlns:a16="http://schemas.microsoft.com/office/drawing/2014/main" id="{D5E039DC-354F-4019-A3DD-38AEBEE8F052}"/>
              </a:ext>
            </a:extLst>
          </p:cNvPr>
          <p:cNvSpPr/>
          <p:nvPr/>
        </p:nvSpPr>
        <p:spPr bwMode="auto">
          <a:xfrm>
            <a:off x="3676191" y="4832387"/>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6" name="Oval 35">
            <a:extLst>
              <a:ext uri="{FF2B5EF4-FFF2-40B4-BE49-F238E27FC236}">
                <a16:creationId xmlns:a16="http://schemas.microsoft.com/office/drawing/2014/main" id="{171AA2BB-9F0A-4EAD-988E-A6D0F58877FC}"/>
              </a:ext>
            </a:extLst>
          </p:cNvPr>
          <p:cNvSpPr/>
          <p:nvPr/>
        </p:nvSpPr>
        <p:spPr bwMode="auto">
          <a:xfrm>
            <a:off x="6869916" y="3133365"/>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7" name="Oval 36">
            <a:extLst>
              <a:ext uri="{FF2B5EF4-FFF2-40B4-BE49-F238E27FC236}">
                <a16:creationId xmlns:a16="http://schemas.microsoft.com/office/drawing/2014/main" id="{6B02D8C6-2470-421B-9D53-7E1CDA294BF1}"/>
              </a:ext>
            </a:extLst>
          </p:cNvPr>
          <p:cNvSpPr/>
          <p:nvPr/>
        </p:nvSpPr>
        <p:spPr bwMode="auto">
          <a:xfrm>
            <a:off x="8493312" y="3133365"/>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8" name="Oval 37">
            <a:extLst>
              <a:ext uri="{FF2B5EF4-FFF2-40B4-BE49-F238E27FC236}">
                <a16:creationId xmlns:a16="http://schemas.microsoft.com/office/drawing/2014/main" id="{6A469546-F9FB-41ED-860D-F0CC7EF54F64}"/>
              </a:ext>
            </a:extLst>
          </p:cNvPr>
          <p:cNvSpPr/>
          <p:nvPr/>
        </p:nvSpPr>
        <p:spPr bwMode="auto">
          <a:xfrm>
            <a:off x="5559523" y="3133365"/>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39" name="Oval 38">
            <a:extLst>
              <a:ext uri="{FF2B5EF4-FFF2-40B4-BE49-F238E27FC236}">
                <a16:creationId xmlns:a16="http://schemas.microsoft.com/office/drawing/2014/main" id="{F5D1400E-0DF2-43A1-BDB3-2518FF1958E8}"/>
              </a:ext>
            </a:extLst>
          </p:cNvPr>
          <p:cNvSpPr/>
          <p:nvPr/>
        </p:nvSpPr>
        <p:spPr bwMode="auto">
          <a:xfrm>
            <a:off x="5560061" y="3982876"/>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0" name="Oval 39">
            <a:extLst>
              <a:ext uri="{FF2B5EF4-FFF2-40B4-BE49-F238E27FC236}">
                <a16:creationId xmlns:a16="http://schemas.microsoft.com/office/drawing/2014/main" id="{06F9F101-AB8E-466C-9FD6-F5C607A9A5B2}"/>
              </a:ext>
            </a:extLst>
          </p:cNvPr>
          <p:cNvSpPr/>
          <p:nvPr/>
        </p:nvSpPr>
        <p:spPr bwMode="auto">
          <a:xfrm>
            <a:off x="7148321" y="4832387"/>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1" name="Oval 40">
            <a:extLst>
              <a:ext uri="{FF2B5EF4-FFF2-40B4-BE49-F238E27FC236}">
                <a16:creationId xmlns:a16="http://schemas.microsoft.com/office/drawing/2014/main" id="{93A7C2CD-0B78-47DA-8637-A556EA36BC68}"/>
              </a:ext>
            </a:extLst>
          </p:cNvPr>
          <p:cNvSpPr/>
          <p:nvPr/>
        </p:nvSpPr>
        <p:spPr bwMode="auto">
          <a:xfrm>
            <a:off x="5560061" y="4832387"/>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2" name="Oval 41">
            <a:extLst>
              <a:ext uri="{FF2B5EF4-FFF2-40B4-BE49-F238E27FC236}">
                <a16:creationId xmlns:a16="http://schemas.microsoft.com/office/drawing/2014/main" id="{13DF948D-D3EA-4DF2-AD89-EC4921F0B5B4}"/>
              </a:ext>
            </a:extLst>
          </p:cNvPr>
          <p:cNvSpPr/>
          <p:nvPr/>
        </p:nvSpPr>
        <p:spPr bwMode="auto">
          <a:xfrm>
            <a:off x="8612762" y="5681105"/>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3" name="Oval 42">
            <a:extLst>
              <a:ext uri="{FF2B5EF4-FFF2-40B4-BE49-F238E27FC236}">
                <a16:creationId xmlns:a16="http://schemas.microsoft.com/office/drawing/2014/main" id="{CDC6A29A-2995-49FA-B1E7-FA163569BCA9}"/>
              </a:ext>
            </a:extLst>
          </p:cNvPr>
          <p:cNvSpPr/>
          <p:nvPr/>
        </p:nvSpPr>
        <p:spPr bwMode="auto">
          <a:xfrm>
            <a:off x="3676191" y="5681105"/>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4" name="Oval 43">
            <a:extLst>
              <a:ext uri="{FF2B5EF4-FFF2-40B4-BE49-F238E27FC236}">
                <a16:creationId xmlns:a16="http://schemas.microsoft.com/office/drawing/2014/main" id="{6819E15D-097D-4FB3-8C93-B7C11B7C5709}"/>
              </a:ext>
            </a:extLst>
          </p:cNvPr>
          <p:cNvSpPr/>
          <p:nvPr/>
        </p:nvSpPr>
        <p:spPr bwMode="auto">
          <a:xfrm>
            <a:off x="6869916" y="5681105"/>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45" name="TextBox 44">
            <a:extLst>
              <a:ext uri="{FF2B5EF4-FFF2-40B4-BE49-F238E27FC236}">
                <a16:creationId xmlns:a16="http://schemas.microsoft.com/office/drawing/2014/main" id="{5D220A28-25EC-4630-8DFB-A8FE356DB82E}"/>
              </a:ext>
            </a:extLst>
          </p:cNvPr>
          <p:cNvSpPr txBox="1"/>
          <p:nvPr/>
        </p:nvSpPr>
        <p:spPr>
          <a:xfrm>
            <a:off x="4223898" y="2025491"/>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5%</a:t>
            </a:r>
          </a:p>
        </p:txBody>
      </p:sp>
      <p:sp>
        <p:nvSpPr>
          <p:cNvPr id="46" name="TextBox 45">
            <a:extLst>
              <a:ext uri="{FF2B5EF4-FFF2-40B4-BE49-F238E27FC236}">
                <a16:creationId xmlns:a16="http://schemas.microsoft.com/office/drawing/2014/main" id="{55BDA8BF-7C0D-4992-A972-3845F2C610ED}"/>
              </a:ext>
            </a:extLst>
          </p:cNvPr>
          <p:cNvSpPr txBox="1"/>
          <p:nvPr/>
        </p:nvSpPr>
        <p:spPr>
          <a:xfrm>
            <a:off x="7143516" y="2025491"/>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8%</a:t>
            </a:r>
          </a:p>
        </p:txBody>
      </p:sp>
      <p:sp>
        <p:nvSpPr>
          <p:cNvPr id="47" name="TextBox 46">
            <a:extLst>
              <a:ext uri="{FF2B5EF4-FFF2-40B4-BE49-F238E27FC236}">
                <a16:creationId xmlns:a16="http://schemas.microsoft.com/office/drawing/2014/main" id="{57A3DBDD-CB2C-467D-B4F8-3946ED5CDA56}"/>
              </a:ext>
            </a:extLst>
          </p:cNvPr>
          <p:cNvSpPr txBox="1"/>
          <p:nvPr/>
        </p:nvSpPr>
        <p:spPr>
          <a:xfrm>
            <a:off x="8989613" y="2025491"/>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9%</a:t>
            </a:r>
          </a:p>
        </p:txBody>
      </p:sp>
      <p:sp>
        <p:nvSpPr>
          <p:cNvPr id="48" name="TextBox 47">
            <a:extLst>
              <a:ext uri="{FF2B5EF4-FFF2-40B4-BE49-F238E27FC236}">
                <a16:creationId xmlns:a16="http://schemas.microsoft.com/office/drawing/2014/main" id="{C3225138-83FA-4E1D-98D5-F7AD6AF73E8D}"/>
              </a:ext>
            </a:extLst>
          </p:cNvPr>
          <p:cNvSpPr txBox="1"/>
          <p:nvPr/>
        </p:nvSpPr>
        <p:spPr>
          <a:xfrm>
            <a:off x="5511923" y="2830884"/>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2%</a:t>
            </a:r>
          </a:p>
        </p:txBody>
      </p:sp>
      <p:sp>
        <p:nvSpPr>
          <p:cNvPr id="49" name="TextBox 48">
            <a:extLst>
              <a:ext uri="{FF2B5EF4-FFF2-40B4-BE49-F238E27FC236}">
                <a16:creationId xmlns:a16="http://schemas.microsoft.com/office/drawing/2014/main" id="{13F46A06-62C0-4F89-A1F9-A0D7FC6D6B6D}"/>
              </a:ext>
            </a:extLst>
          </p:cNvPr>
          <p:cNvSpPr txBox="1"/>
          <p:nvPr/>
        </p:nvSpPr>
        <p:spPr>
          <a:xfrm>
            <a:off x="6779722" y="2830884"/>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4%</a:t>
            </a:r>
          </a:p>
        </p:txBody>
      </p:sp>
      <p:sp>
        <p:nvSpPr>
          <p:cNvPr id="50" name="TextBox 49">
            <a:extLst>
              <a:ext uri="{FF2B5EF4-FFF2-40B4-BE49-F238E27FC236}">
                <a16:creationId xmlns:a16="http://schemas.microsoft.com/office/drawing/2014/main" id="{25484693-2384-4676-B4DE-FA3510A8DD71}"/>
              </a:ext>
            </a:extLst>
          </p:cNvPr>
          <p:cNvSpPr txBox="1"/>
          <p:nvPr/>
        </p:nvSpPr>
        <p:spPr>
          <a:xfrm>
            <a:off x="8448839" y="2830884"/>
            <a:ext cx="40588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8%</a:t>
            </a:r>
          </a:p>
        </p:txBody>
      </p:sp>
      <p:sp>
        <p:nvSpPr>
          <p:cNvPr id="51" name="TextBox 50">
            <a:extLst>
              <a:ext uri="{FF2B5EF4-FFF2-40B4-BE49-F238E27FC236}">
                <a16:creationId xmlns:a16="http://schemas.microsoft.com/office/drawing/2014/main" id="{4D839233-4D15-44D8-8D97-AEDEE5FF7E01}"/>
              </a:ext>
            </a:extLst>
          </p:cNvPr>
          <p:cNvSpPr txBox="1"/>
          <p:nvPr/>
        </p:nvSpPr>
        <p:spPr>
          <a:xfrm>
            <a:off x="5503106" y="36690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2" name="TextBox 51">
            <a:extLst>
              <a:ext uri="{FF2B5EF4-FFF2-40B4-BE49-F238E27FC236}">
                <a16:creationId xmlns:a16="http://schemas.microsoft.com/office/drawing/2014/main" id="{F2F72B9A-FE9B-4B44-8E17-6275A499CFC5}"/>
              </a:ext>
            </a:extLst>
          </p:cNvPr>
          <p:cNvSpPr txBox="1"/>
          <p:nvPr/>
        </p:nvSpPr>
        <p:spPr>
          <a:xfrm>
            <a:off x="4149629" y="36690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3" name="TextBox 52">
            <a:extLst>
              <a:ext uri="{FF2B5EF4-FFF2-40B4-BE49-F238E27FC236}">
                <a16:creationId xmlns:a16="http://schemas.microsoft.com/office/drawing/2014/main" id="{92C19C27-1556-4B83-9F97-06A6F12B6E1D}"/>
              </a:ext>
            </a:extLst>
          </p:cNvPr>
          <p:cNvSpPr txBox="1"/>
          <p:nvPr/>
        </p:nvSpPr>
        <p:spPr>
          <a:xfrm>
            <a:off x="7074725" y="36690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4" name="TextBox 53">
            <a:extLst>
              <a:ext uri="{FF2B5EF4-FFF2-40B4-BE49-F238E27FC236}">
                <a16:creationId xmlns:a16="http://schemas.microsoft.com/office/drawing/2014/main" id="{A7D9B8B8-D5D0-4B21-9F82-1C7D95FB6AF2}"/>
              </a:ext>
            </a:extLst>
          </p:cNvPr>
          <p:cNvSpPr txBox="1"/>
          <p:nvPr/>
        </p:nvSpPr>
        <p:spPr>
          <a:xfrm>
            <a:off x="5503106" y="45072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5" name="TextBox 54">
            <a:extLst>
              <a:ext uri="{FF2B5EF4-FFF2-40B4-BE49-F238E27FC236}">
                <a16:creationId xmlns:a16="http://schemas.microsoft.com/office/drawing/2014/main" id="{FEB194EE-F595-4F25-8BE7-4F236E52DA54}"/>
              </a:ext>
            </a:extLst>
          </p:cNvPr>
          <p:cNvSpPr txBox="1"/>
          <p:nvPr/>
        </p:nvSpPr>
        <p:spPr>
          <a:xfrm>
            <a:off x="3638351" y="45072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6" name="TextBox 55">
            <a:extLst>
              <a:ext uri="{FF2B5EF4-FFF2-40B4-BE49-F238E27FC236}">
                <a16:creationId xmlns:a16="http://schemas.microsoft.com/office/drawing/2014/main" id="{DB175B14-CEC4-4057-B9DD-0E014EDA2827}"/>
              </a:ext>
            </a:extLst>
          </p:cNvPr>
          <p:cNvSpPr txBox="1"/>
          <p:nvPr/>
        </p:nvSpPr>
        <p:spPr>
          <a:xfrm>
            <a:off x="7074725" y="45072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7" name="TextBox 56">
            <a:extLst>
              <a:ext uri="{FF2B5EF4-FFF2-40B4-BE49-F238E27FC236}">
                <a16:creationId xmlns:a16="http://schemas.microsoft.com/office/drawing/2014/main" id="{46BE663F-DD6F-4896-B340-3ECA51D3E7C5}"/>
              </a:ext>
            </a:extLst>
          </p:cNvPr>
          <p:cNvSpPr txBox="1"/>
          <p:nvPr/>
        </p:nvSpPr>
        <p:spPr>
          <a:xfrm>
            <a:off x="6800964" y="53454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8" name="TextBox 57">
            <a:extLst>
              <a:ext uri="{FF2B5EF4-FFF2-40B4-BE49-F238E27FC236}">
                <a16:creationId xmlns:a16="http://schemas.microsoft.com/office/drawing/2014/main" id="{64CCDE5E-A606-40C9-9BF2-36C60F1E1620}"/>
              </a:ext>
            </a:extLst>
          </p:cNvPr>
          <p:cNvSpPr txBox="1"/>
          <p:nvPr/>
        </p:nvSpPr>
        <p:spPr>
          <a:xfrm>
            <a:off x="3638351" y="53454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59" name="TextBox 58">
            <a:extLst>
              <a:ext uri="{FF2B5EF4-FFF2-40B4-BE49-F238E27FC236}">
                <a16:creationId xmlns:a16="http://schemas.microsoft.com/office/drawing/2014/main" id="{53AEF009-C2C5-4E33-BE1F-BF54CE8466C9}"/>
              </a:ext>
            </a:extLst>
          </p:cNvPr>
          <p:cNvSpPr txBox="1"/>
          <p:nvPr/>
        </p:nvSpPr>
        <p:spPr>
          <a:xfrm>
            <a:off x="8529899" y="5345484"/>
            <a:ext cx="423514"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X%</a:t>
            </a:r>
          </a:p>
        </p:txBody>
      </p:sp>
      <p:sp>
        <p:nvSpPr>
          <p:cNvPr id="60" name="Oval 59">
            <a:extLst>
              <a:ext uri="{FF2B5EF4-FFF2-40B4-BE49-F238E27FC236}">
                <a16:creationId xmlns:a16="http://schemas.microsoft.com/office/drawing/2014/main" id="{D7FE79AC-8102-42A4-85B2-BA3C025F66A2}"/>
              </a:ext>
            </a:extLst>
          </p:cNvPr>
          <p:cNvSpPr/>
          <p:nvPr/>
        </p:nvSpPr>
        <p:spPr bwMode="auto">
          <a:xfrm>
            <a:off x="10243766" y="361285"/>
            <a:ext cx="27432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1" name="TextBox 60">
            <a:extLst>
              <a:ext uri="{FF2B5EF4-FFF2-40B4-BE49-F238E27FC236}">
                <a16:creationId xmlns:a16="http://schemas.microsoft.com/office/drawing/2014/main" id="{CFCE2A13-3281-42F0-9E3D-DCF6B6A3BA07}"/>
              </a:ext>
            </a:extLst>
          </p:cNvPr>
          <p:cNvSpPr txBox="1"/>
          <p:nvPr/>
        </p:nvSpPr>
        <p:spPr>
          <a:xfrm>
            <a:off x="10155390" y="364996"/>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X</a:t>
            </a:r>
          </a:p>
        </p:txBody>
      </p:sp>
      <p:sp>
        <p:nvSpPr>
          <p:cNvPr id="62" name="Oval 61">
            <a:extLst>
              <a:ext uri="{FF2B5EF4-FFF2-40B4-BE49-F238E27FC236}">
                <a16:creationId xmlns:a16="http://schemas.microsoft.com/office/drawing/2014/main" id="{B24BB676-FDCB-46DE-A580-B04F9193D736}"/>
              </a:ext>
            </a:extLst>
          </p:cNvPr>
          <p:cNvSpPr/>
          <p:nvPr/>
        </p:nvSpPr>
        <p:spPr bwMode="auto">
          <a:xfrm>
            <a:off x="10242590" y="734911"/>
            <a:ext cx="27432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3" name="TextBox 62">
            <a:extLst>
              <a:ext uri="{FF2B5EF4-FFF2-40B4-BE49-F238E27FC236}">
                <a16:creationId xmlns:a16="http://schemas.microsoft.com/office/drawing/2014/main" id="{BE93EF03-424F-4C8C-8E9B-3B7101B0632F}"/>
              </a:ext>
            </a:extLst>
          </p:cNvPr>
          <p:cNvSpPr txBox="1"/>
          <p:nvPr/>
        </p:nvSpPr>
        <p:spPr>
          <a:xfrm>
            <a:off x="10155390" y="738622"/>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Y</a:t>
            </a:r>
          </a:p>
        </p:txBody>
      </p:sp>
      <p:sp>
        <p:nvSpPr>
          <p:cNvPr id="64" name="Oval 63">
            <a:extLst>
              <a:ext uri="{FF2B5EF4-FFF2-40B4-BE49-F238E27FC236}">
                <a16:creationId xmlns:a16="http://schemas.microsoft.com/office/drawing/2014/main" id="{98FCC64D-DC7C-493D-9174-F3D4AA26D031}"/>
              </a:ext>
            </a:extLst>
          </p:cNvPr>
          <p:cNvSpPr/>
          <p:nvPr/>
        </p:nvSpPr>
        <p:spPr bwMode="auto">
          <a:xfrm>
            <a:off x="10242590" y="1108537"/>
            <a:ext cx="27432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5" name="TextBox 64">
            <a:extLst>
              <a:ext uri="{FF2B5EF4-FFF2-40B4-BE49-F238E27FC236}">
                <a16:creationId xmlns:a16="http://schemas.microsoft.com/office/drawing/2014/main" id="{2DF91A00-00B2-4F8A-B4CE-AFC2BBD8D28D}"/>
              </a:ext>
            </a:extLst>
          </p:cNvPr>
          <p:cNvSpPr txBox="1"/>
          <p:nvPr/>
        </p:nvSpPr>
        <p:spPr>
          <a:xfrm>
            <a:off x="10155390" y="1112248"/>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Z</a:t>
            </a:r>
          </a:p>
        </p:txBody>
      </p:sp>
      <p:sp>
        <p:nvSpPr>
          <p:cNvPr id="67" name="Speech Bubble: Rectangle with Corners Rounded 66">
            <a:extLst>
              <a:ext uri="{FF2B5EF4-FFF2-40B4-BE49-F238E27FC236}">
                <a16:creationId xmlns:a16="http://schemas.microsoft.com/office/drawing/2014/main" id="{F6A3C2DF-30DC-4C63-9CDB-999FE65EFF5F}"/>
              </a:ext>
            </a:extLst>
          </p:cNvPr>
          <p:cNvSpPr/>
          <p:nvPr/>
        </p:nvSpPr>
        <p:spPr bwMode="auto">
          <a:xfrm>
            <a:off x="4064503" y="1185394"/>
            <a:ext cx="4328460" cy="640424"/>
          </a:xfrm>
          <a:prstGeom prst="wedgeRoundRectCallout">
            <a:avLst>
              <a:gd name="adj1" fmla="val -44764"/>
              <a:gd name="adj2" fmla="val -9377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For more details on how to conduct a financial statement analysis, open the folder “financial statement analysis”</a:t>
            </a:r>
            <a:endParaRPr lang="en-US" sz="1200" b="1" dirty="0">
              <a:solidFill>
                <a:srgbClr val="0C2870"/>
              </a:solidFill>
              <a:latin typeface="Arial" charset="0"/>
              <a:cs typeface="Times New Roman" pitchFamily="18" charset="0"/>
            </a:endParaRPr>
          </a:p>
        </p:txBody>
      </p:sp>
      <p:sp>
        <p:nvSpPr>
          <p:cNvPr id="3" name="Rectangle: Rounded Corners 2">
            <a:extLst>
              <a:ext uri="{FF2B5EF4-FFF2-40B4-BE49-F238E27FC236}">
                <a16:creationId xmlns:a16="http://schemas.microsoft.com/office/drawing/2014/main" id="{6BAC021A-C011-E776-EFF3-61F514C9790C}"/>
              </a:ext>
            </a:extLst>
          </p:cNvPr>
          <p:cNvSpPr/>
          <p:nvPr/>
        </p:nvSpPr>
        <p:spPr>
          <a:xfrm>
            <a:off x="5282194" y="136585"/>
            <a:ext cx="1663438"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Tutorial</a:t>
            </a:r>
          </a:p>
        </p:txBody>
      </p:sp>
    </p:spTree>
    <p:extLst>
      <p:ext uri="{BB962C8B-B14F-4D97-AF65-F5344CB8AC3E}">
        <p14:creationId xmlns:p14="http://schemas.microsoft.com/office/powerpoint/2010/main" val="6768658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ounded Rectangle 33">
            <a:extLst>
              <a:ext uri="{FF2B5EF4-FFF2-40B4-BE49-F238E27FC236}">
                <a16:creationId xmlns:a16="http://schemas.microsoft.com/office/drawing/2014/main" id="{62880837-2C43-40E8-9AF6-B862401777E2}"/>
              </a:ext>
            </a:extLst>
          </p:cNvPr>
          <p:cNvSpPr/>
          <p:nvPr/>
        </p:nvSpPr>
        <p:spPr bwMode="auto">
          <a:xfrm>
            <a:off x="862372" y="2074474"/>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Inventory turnover ratio</a:t>
            </a:r>
          </a:p>
        </p:txBody>
      </p:sp>
      <p:sp>
        <p:nvSpPr>
          <p:cNvPr id="127" name="Rounded Rectangle 38">
            <a:extLst>
              <a:ext uri="{FF2B5EF4-FFF2-40B4-BE49-F238E27FC236}">
                <a16:creationId xmlns:a16="http://schemas.microsoft.com/office/drawing/2014/main" id="{9D8C6FBA-53B5-4F81-A74B-1E8F9A7484FB}"/>
              </a:ext>
            </a:extLst>
          </p:cNvPr>
          <p:cNvSpPr/>
          <p:nvPr/>
        </p:nvSpPr>
        <p:spPr bwMode="auto">
          <a:xfrm>
            <a:off x="862372" y="2839808"/>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Accounts receivable turnover ratio</a:t>
            </a:r>
          </a:p>
        </p:txBody>
      </p:sp>
      <p:sp>
        <p:nvSpPr>
          <p:cNvPr id="128" name="Rounded Rectangle 42">
            <a:extLst>
              <a:ext uri="{FF2B5EF4-FFF2-40B4-BE49-F238E27FC236}">
                <a16:creationId xmlns:a16="http://schemas.microsoft.com/office/drawing/2014/main" id="{71CE224F-9636-4E50-9853-22A0052BD165}"/>
              </a:ext>
            </a:extLst>
          </p:cNvPr>
          <p:cNvSpPr/>
          <p:nvPr/>
        </p:nvSpPr>
        <p:spPr bwMode="auto">
          <a:xfrm>
            <a:off x="862372" y="3605142"/>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Accounts payable turnover ratio</a:t>
            </a:r>
          </a:p>
        </p:txBody>
      </p:sp>
      <p:sp>
        <p:nvSpPr>
          <p:cNvPr id="129" name="Rounded Rectangle 46">
            <a:extLst>
              <a:ext uri="{FF2B5EF4-FFF2-40B4-BE49-F238E27FC236}">
                <a16:creationId xmlns:a16="http://schemas.microsoft.com/office/drawing/2014/main" id="{706028E1-F1CE-49C0-B366-83E32F82CDC9}"/>
              </a:ext>
            </a:extLst>
          </p:cNvPr>
          <p:cNvSpPr/>
          <p:nvPr/>
        </p:nvSpPr>
        <p:spPr bwMode="auto">
          <a:xfrm>
            <a:off x="862372" y="4361240"/>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Asset turnover ratio</a:t>
            </a:r>
          </a:p>
        </p:txBody>
      </p:sp>
      <p:sp>
        <p:nvSpPr>
          <p:cNvPr id="130" name="Rounded Rectangle 50">
            <a:extLst>
              <a:ext uri="{FF2B5EF4-FFF2-40B4-BE49-F238E27FC236}">
                <a16:creationId xmlns:a16="http://schemas.microsoft.com/office/drawing/2014/main" id="{0176836C-62DF-4238-BF60-E3EC060D49DE}"/>
              </a:ext>
            </a:extLst>
          </p:cNvPr>
          <p:cNvSpPr/>
          <p:nvPr/>
        </p:nvSpPr>
        <p:spPr bwMode="auto">
          <a:xfrm>
            <a:off x="862372" y="5098864"/>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Fixed asset turnover ratio</a:t>
            </a:r>
          </a:p>
        </p:txBody>
      </p:sp>
      <p:sp>
        <p:nvSpPr>
          <p:cNvPr id="143" name="Rounded Rectangle 50">
            <a:extLst>
              <a:ext uri="{FF2B5EF4-FFF2-40B4-BE49-F238E27FC236}">
                <a16:creationId xmlns:a16="http://schemas.microsoft.com/office/drawing/2014/main" id="{32F0C566-7725-4726-AD23-227F464F6A3A}"/>
              </a:ext>
            </a:extLst>
          </p:cNvPr>
          <p:cNvSpPr/>
          <p:nvPr/>
        </p:nvSpPr>
        <p:spPr bwMode="auto">
          <a:xfrm>
            <a:off x="862372" y="5861171"/>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Working capital turnover ratio</a:t>
            </a: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ummary of our financial statement analysis</a:t>
            </a:r>
            <a:br>
              <a:rPr lang="en-US" sz="2400" dirty="0"/>
            </a:br>
            <a:r>
              <a:rPr lang="en-US" sz="2400" b="0" dirty="0"/>
              <a:t>Efficiency ratio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9</a:t>
            </a:fld>
            <a:endParaRPr lang="en-US" dirty="0">
              <a:solidFill>
                <a:srgbClr val="ADAFBB"/>
              </a:solidFill>
            </a:endParaRPr>
          </a:p>
        </p:txBody>
      </p:sp>
      <p:sp>
        <p:nvSpPr>
          <p:cNvPr id="60" name="Oval 59">
            <a:extLst>
              <a:ext uri="{FF2B5EF4-FFF2-40B4-BE49-F238E27FC236}">
                <a16:creationId xmlns:a16="http://schemas.microsoft.com/office/drawing/2014/main" id="{D7FE79AC-8102-42A4-85B2-BA3C025F66A2}"/>
              </a:ext>
            </a:extLst>
          </p:cNvPr>
          <p:cNvSpPr/>
          <p:nvPr/>
        </p:nvSpPr>
        <p:spPr bwMode="auto">
          <a:xfrm>
            <a:off x="10243766" y="361285"/>
            <a:ext cx="27432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1" name="TextBox 60">
            <a:extLst>
              <a:ext uri="{FF2B5EF4-FFF2-40B4-BE49-F238E27FC236}">
                <a16:creationId xmlns:a16="http://schemas.microsoft.com/office/drawing/2014/main" id="{CFCE2A13-3281-42F0-9E3D-DCF6B6A3BA07}"/>
              </a:ext>
            </a:extLst>
          </p:cNvPr>
          <p:cNvSpPr txBox="1"/>
          <p:nvPr/>
        </p:nvSpPr>
        <p:spPr>
          <a:xfrm>
            <a:off x="10155390" y="364996"/>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X</a:t>
            </a:r>
          </a:p>
        </p:txBody>
      </p:sp>
      <p:sp>
        <p:nvSpPr>
          <p:cNvPr id="62" name="Oval 61">
            <a:extLst>
              <a:ext uri="{FF2B5EF4-FFF2-40B4-BE49-F238E27FC236}">
                <a16:creationId xmlns:a16="http://schemas.microsoft.com/office/drawing/2014/main" id="{B24BB676-FDCB-46DE-A580-B04F9193D736}"/>
              </a:ext>
            </a:extLst>
          </p:cNvPr>
          <p:cNvSpPr/>
          <p:nvPr/>
        </p:nvSpPr>
        <p:spPr bwMode="auto">
          <a:xfrm>
            <a:off x="10242590" y="734911"/>
            <a:ext cx="27432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3" name="TextBox 62">
            <a:extLst>
              <a:ext uri="{FF2B5EF4-FFF2-40B4-BE49-F238E27FC236}">
                <a16:creationId xmlns:a16="http://schemas.microsoft.com/office/drawing/2014/main" id="{BE93EF03-424F-4C8C-8E9B-3B7101B0632F}"/>
              </a:ext>
            </a:extLst>
          </p:cNvPr>
          <p:cNvSpPr txBox="1"/>
          <p:nvPr/>
        </p:nvSpPr>
        <p:spPr>
          <a:xfrm>
            <a:off x="10155390" y="738622"/>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Y</a:t>
            </a:r>
          </a:p>
        </p:txBody>
      </p:sp>
      <p:sp>
        <p:nvSpPr>
          <p:cNvPr id="64" name="Oval 63">
            <a:extLst>
              <a:ext uri="{FF2B5EF4-FFF2-40B4-BE49-F238E27FC236}">
                <a16:creationId xmlns:a16="http://schemas.microsoft.com/office/drawing/2014/main" id="{98FCC64D-DC7C-493D-9174-F3D4AA26D031}"/>
              </a:ext>
            </a:extLst>
          </p:cNvPr>
          <p:cNvSpPr/>
          <p:nvPr/>
        </p:nvSpPr>
        <p:spPr bwMode="auto">
          <a:xfrm>
            <a:off x="10242590" y="1108537"/>
            <a:ext cx="27432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5" name="TextBox 64">
            <a:extLst>
              <a:ext uri="{FF2B5EF4-FFF2-40B4-BE49-F238E27FC236}">
                <a16:creationId xmlns:a16="http://schemas.microsoft.com/office/drawing/2014/main" id="{2DF91A00-00B2-4F8A-B4CE-AFC2BBD8D28D}"/>
              </a:ext>
            </a:extLst>
          </p:cNvPr>
          <p:cNvSpPr txBox="1"/>
          <p:nvPr/>
        </p:nvSpPr>
        <p:spPr>
          <a:xfrm>
            <a:off x="10155390" y="1112248"/>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Z</a:t>
            </a:r>
          </a:p>
        </p:txBody>
      </p:sp>
      <p:sp>
        <p:nvSpPr>
          <p:cNvPr id="89" name="TextBox 88">
            <a:extLst>
              <a:ext uri="{FF2B5EF4-FFF2-40B4-BE49-F238E27FC236}">
                <a16:creationId xmlns:a16="http://schemas.microsoft.com/office/drawing/2014/main" id="{5293073A-0CB1-404E-A602-3F3B39B206FF}"/>
              </a:ext>
            </a:extLst>
          </p:cNvPr>
          <p:cNvSpPr txBox="1"/>
          <p:nvPr/>
        </p:nvSpPr>
        <p:spPr>
          <a:xfrm>
            <a:off x="2486153" y="1542773"/>
            <a:ext cx="98777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Worst peer</a:t>
            </a:r>
          </a:p>
        </p:txBody>
      </p:sp>
      <p:sp>
        <p:nvSpPr>
          <p:cNvPr id="90" name="TextBox 89">
            <a:extLst>
              <a:ext uri="{FF2B5EF4-FFF2-40B4-BE49-F238E27FC236}">
                <a16:creationId xmlns:a16="http://schemas.microsoft.com/office/drawing/2014/main" id="{02B670F7-7F0D-4044-B54E-60EFA8DE668F}"/>
              </a:ext>
            </a:extLst>
          </p:cNvPr>
          <p:cNvSpPr txBox="1"/>
          <p:nvPr/>
        </p:nvSpPr>
        <p:spPr>
          <a:xfrm>
            <a:off x="10063134" y="1542773"/>
            <a:ext cx="883575"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Best peer</a:t>
            </a:r>
          </a:p>
        </p:txBody>
      </p:sp>
      <p:cxnSp>
        <p:nvCxnSpPr>
          <p:cNvPr id="91" name="Straight Connector 90">
            <a:extLst>
              <a:ext uri="{FF2B5EF4-FFF2-40B4-BE49-F238E27FC236}">
                <a16:creationId xmlns:a16="http://schemas.microsoft.com/office/drawing/2014/main" id="{C6B2FD17-5152-440D-9263-CDF1F0DF1963}"/>
              </a:ext>
            </a:extLst>
          </p:cNvPr>
          <p:cNvCxnSpPr>
            <a:cxnSpLocks/>
          </p:cNvCxnSpPr>
          <p:nvPr/>
        </p:nvCxnSpPr>
        <p:spPr>
          <a:xfrm>
            <a:off x="2865738" y="2384066"/>
            <a:ext cx="7651172" cy="0"/>
          </a:xfrm>
          <a:prstGeom prst="line">
            <a:avLst/>
          </a:prstGeom>
          <a:noFill/>
          <a:ln w="12700" cap="flat" cmpd="sng" algn="ctr">
            <a:solidFill>
              <a:srgbClr val="002776">
                <a:shade val="95000"/>
                <a:satMod val="105000"/>
              </a:srgbClr>
            </a:solidFill>
            <a:prstDash val="dash"/>
          </a:ln>
          <a:effectLst/>
        </p:spPr>
      </p:cxnSp>
      <p:cxnSp>
        <p:nvCxnSpPr>
          <p:cNvPr id="92" name="Straight Connector 91">
            <a:extLst>
              <a:ext uri="{FF2B5EF4-FFF2-40B4-BE49-F238E27FC236}">
                <a16:creationId xmlns:a16="http://schemas.microsoft.com/office/drawing/2014/main" id="{D8834B92-3834-41F6-AE53-ADBD2438017C}"/>
              </a:ext>
            </a:extLst>
          </p:cNvPr>
          <p:cNvCxnSpPr>
            <a:cxnSpLocks/>
          </p:cNvCxnSpPr>
          <p:nvPr/>
        </p:nvCxnSpPr>
        <p:spPr>
          <a:xfrm>
            <a:off x="2865738" y="3159689"/>
            <a:ext cx="7651172" cy="0"/>
          </a:xfrm>
          <a:prstGeom prst="line">
            <a:avLst/>
          </a:prstGeom>
          <a:noFill/>
          <a:ln w="12700" cap="flat" cmpd="sng" algn="ctr">
            <a:solidFill>
              <a:srgbClr val="002776">
                <a:shade val="95000"/>
                <a:satMod val="105000"/>
              </a:srgbClr>
            </a:solidFill>
            <a:prstDash val="dash"/>
          </a:ln>
          <a:effectLst/>
        </p:spPr>
      </p:cxnSp>
      <p:cxnSp>
        <p:nvCxnSpPr>
          <p:cNvPr id="93" name="Straight Connector 92">
            <a:extLst>
              <a:ext uri="{FF2B5EF4-FFF2-40B4-BE49-F238E27FC236}">
                <a16:creationId xmlns:a16="http://schemas.microsoft.com/office/drawing/2014/main" id="{D64383E5-7894-4068-B541-9FBE2E3C1901}"/>
              </a:ext>
            </a:extLst>
          </p:cNvPr>
          <p:cNvCxnSpPr>
            <a:cxnSpLocks/>
          </p:cNvCxnSpPr>
          <p:nvPr/>
        </p:nvCxnSpPr>
        <p:spPr>
          <a:xfrm>
            <a:off x="2865738" y="3935312"/>
            <a:ext cx="7651172" cy="0"/>
          </a:xfrm>
          <a:prstGeom prst="line">
            <a:avLst/>
          </a:prstGeom>
          <a:noFill/>
          <a:ln w="12700" cap="flat" cmpd="sng" algn="ctr">
            <a:solidFill>
              <a:srgbClr val="002776">
                <a:shade val="95000"/>
                <a:satMod val="105000"/>
              </a:srgbClr>
            </a:solidFill>
            <a:prstDash val="dash"/>
          </a:ln>
          <a:effectLst/>
        </p:spPr>
      </p:cxnSp>
      <p:cxnSp>
        <p:nvCxnSpPr>
          <p:cNvPr id="94" name="Straight Connector 93">
            <a:extLst>
              <a:ext uri="{FF2B5EF4-FFF2-40B4-BE49-F238E27FC236}">
                <a16:creationId xmlns:a16="http://schemas.microsoft.com/office/drawing/2014/main" id="{303D6ABA-D966-49AC-86D8-C36DDE18981F}"/>
              </a:ext>
            </a:extLst>
          </p:cNvPr>
          <p:cNvCxnSpPr>
            <a:cxnSpLocks/>
          </p:cNvCxnSpPr>
          <p:nvPr/>
        </p:nvCxnSpPr>
        <p:spPr>
          <a:xfrm>
            <a:off x="2865738" y="4701699"/>
            <a:ext cx="7651172" cy="0"/>
          </a:xfrm>
          <a:prstGeom prst="line">
            <a:avLst/>
          </a:prstGeom>
          <a:noFill/>
          <a:ln w="12700" cap="flat" cmpd="sng" algn="ctr">
            <a:solidFill>
              <a:srgbClr val="002776">
                <a:shade val="95000"/>
                <a:satMod val="105000"/>
              </a:srgbClr>
            </a:solidFill>
            <a:prstDash val="dash"/>
          </a:ln>
          <a:effectLst/>
        </p:spPr>
      </p:cxnSp>
      <p:cxnSp>
        <p:nvCxnSpPr>
          <p:cNvPr id="95" name="Straight Connector 94">
            <a:extLst>
              <a:ext uri="{FF2B5EF4-FFF2-40B4-BE49-F238E27FC236}">
                <a16:creationId xmlns:a16="http://schemas.microsoft.com/office/drawing/2014/main" id="{6690E34B-0B6B-4989-AF85-209849AF3AEA}"/>
              </a:ext>
            </a:extLst>
          </p:cNvPr>
          <p:cNvCxnSpPr>
            <a:cxnSpLocks/>
          </p:cNvCxnSpPr>
          <p:nvPr/>
        </p:nvCxnSpPr>
        <p:spPr>
          <a:xfrm>
            <a:off x="2865738" y="5448821"/>
            <a:ext cx="7651172" cy="0"/>
          </a:xfrm>
          <a:prstGeom prst="line">
            <a:avLst/>
          </a:prstGeom>
          <a:noFill/>
          <a:ln w="12700" cap="flat" cmpd="sng" algn="ctr">
            <a:solidFill>
              <a:srgbClr val="002776">
                <a:shade val="95000"/>
                <a:satMod val="105000"/>
              </a:srgbClr>
            </a:solidFill>
            <a:prstDash val="dash"/>
          </a:ln>
          <a:effectLst/>
        </p:spPr>
      </p:cxnSp>
      <p:sp>
        <p:nvSpPr>
          <p:cNvPr id="96" name="Oval 95">
            <a:extLst>
              <a:ext uri="{FF2B5EF4-FFF2-40B4-BE49-F238E27FC236}">
                <a16:creationId xmlns:a16="http://schemas.microsoft.com/office/drawing/2014/main" id="{C6176997-2C40-4461-B178-9AF06DC7F40E}"/>
              </a:ext>
            </a:extLst>
          </p:cNvPr>
          <p:cNvSpPr/>
          <p:nvPr/>
        </p:nvSpPr>
        <p:spPr bwMode="auto">
          <a:xfrm>
            <a:off x="4290038" y="2246906"/>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7" name="Oval 96">
            <a:extLst>
              <a:ext uri="{FF2B5EF4-FFF2-40B4-BE49-F238E27FC236}">
                <a16:creationId xmlns:a16="http://schemas.microsoft.com/office/drawing/2014/main" id="{352340E1-6DBB-4431-AD46-6802F240351C}"/>
              </a:ext>
            </a:extLst>
          </p:cNvPr>
          <p:cNvSpPr/>
          <p:nvPr/>
        </p:nvSpPr>
        <p:spPr bwMode="auto">
          <a:xfrm>
            <a:off x="7209656" y="2246906"/>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8" name="Oval 97">
            <a:extLst>
              <a:ext uri="{FF2B5EF4-FFF2-40B4-BE49-F238E27FC236}">
                <a16:creationId xmlns:a16="http://schemas.microsoft.com/office/drawing/2014/main" id="{F9679BBD-0063-4328-9918-EBF953F9AB7A}"/>
              </a:ext>
            </a:extLst>
          </p:cNvPr>
          <p:cNvSpPr/>
          <p:nvPr/>
        </p:nvSpPr>
        <p:spPr bwMode="auto">
          <a:xfrm>
            <a:off x="9055753" y="2246906"/>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9" name="Oval 98">
            <a:extLst>
              <a:ext uri="{FF2B5EF4-FFF2-40B4-BE49-F238E27FC236}">
                <a16:creationId xmlns:a16="http://schemas.microsoft.com/office/drawing/2014/main" id="{2DB93F9E-B1C9-4A41-8709-419FF2D61EF5}"/>
              </a:ext>
            </a:extLst>
          </p:cNvPr>
          <p:cNvSpPr/>
          <p:nvPr/>
        </p:nvSpPr>
        <p:spPr bwMode="auto">
          <a:xfrm>
            <a:off x="4227147" y="3798152"/>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0" name="Oval 99">
            <a:extLst>
              <a:ext uri="{FF2B5EF4-FFF2-40B4-BE49-F238E27FC236}">
                <a16:creationId xmlns:a16="http://schemas.microsoft.com/office/drawing/2014/main" id="{223CD049-E8E0-4E33-884D-DE91B1F5B885}"/>
              </a:ext>
            </a:extLst>
          </p:cNvPr>
          <p:cNvSpPr/>
          <p:nvPr/>
        </p:nvSpPr>
        <p:spPr bwMode="auto">
          <a:xfrm>
            <a:off x="7148321" y="3798152"/>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1" name="Oval 100">
            <a:extLst>
              <a:ext uri="{FF2B5EF4-FFF2-40B4-BE49-F238E27FC236}">
                <a16:creationId xmlns:a16="http://schemas.microsoft.com/office/drawing/2014/main" id="{F5340496-77D2-489A-9CC9-A683CD7AEB5C}"/>
              </a:ext>
            </a:extLst>
          </p:cNvPr>
          <p:cNvSpPr/>
          <p:nvPr/>
        </p:nvSpPr>
        <p:spPr bwMode="auto">
          <a:xfrm>
            <a:off x="3676191" y="4564539"/>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2" name="Oval 101">
            <a:extLst>
              <a:ext uri="{FF2B5EF4-FFF2-40B4-BE49-F238E27FC236}">
                <a16:creationId xmlns:a16="http://schemas.microsoft.com/office/drawing/2014/main" id="{FEA49C4B-4355-421C-A290-1E1A9F96E757}"/>
              </a:ext>
            </a:extLst>
          </p:cNvPr>
          <p:cNvSpPr/>
          <p:nvPr/>
        </p:nvSpPr>
        <p:spPr bwMode="auto">
          <a:xfrm>
            <a:off x="6869916" y="3022529"/>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3" name="Oval 102">
            <a:extLst>
              <a:ext uri="{FF2B5EF4-FFF2-40B4-BE49-F238E27FC236}">
                <a16:creationId xmlns:a16="http://schemas.microsoft.com/office/drawing/2014/main" id="{5071BEF8-ADB4-47BA-9936-292982348B44}"/>
              </a:ext>
            </a:extLst>
          </p:cNvPr>
          <p:cNvSpPr/>
          <p:nvPr/>
        </p:nvSpPr>
        <p:spPr bwMode="auto">
          <a:xfrm>
            <a:off x="8493312" y="3022529"/>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4" name="Oval 103">
            <a:extLst>
              <a:ext uri="{FF2B5EF4-FFF2-40B4-BE49-F238E27FC236}">
                <a16:creationId xmlns:a16="http://schemas.microsoft.com/office/drawing/2014/main" id="{2ABE6662-C4E5-435A-9FBA-A82576213985}"/>
              </a:ext>
            </a:extLst>
          </p:cNvPr>
          <p:cNvSpPr/>
          <p:nvPr/>
        </p:nvSpPr>
        <p:spPr bwMode="auto">
          <a:xfrm>
            <a:off x="5559523" y="3022529"/>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5" name="Oval 104">
            <a:extLst>
              <a:ext uri="{FF2B5EF4-FFF2-40B4-BE49-F238E27FC236}">
                <a16:creationId xmlns:a16="http://schemas.microsoft.com/office/drawing/2014/main" id="{42787DF1-FF33-4A37-BB01-6DF7C908619A}"/>
              </a:ext>
            </a:extLst>
          </p:cNvPr>
          <p:cNvSpPr/>
          <p:nvPr/>
        </p:nvSpPr>
        <p:spPr bwMode="auto">
          <a:xfrm>
            <a:off x="5560061" y="3798152"/>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6" name="Oval 105">
            <a:extLst>
              <a:ext uri="{FF2B5EF4-FFF2-40B4-BE49-F238E27FC236}">
                <a16:creationId xmlns:a16="http://schemas.microsoft.com/office/drawing/2014/main" id="{E4572C8A-77D0-479D-B571-A8FCA205A5DE}"/>
              </a:ext>
            </a:extLst>
          </p:cNvPr>
          <p:cNvSpPr/>
          <p:nvPr/>
        </p:nvSpPr>
        <p:spPr bwMode="auto">
          <a:xfrm>
            <a:off x="7148321" y="4564539"/>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7" name="Oval 106">
            <a:extLst>
              <a:ext uri="{FF2B5EF4-FFF2-40B4-BE49-F238E27FC236}">
                <a16:creationId xmlns:a16="http://schemas.microsoft.com/office/drawing/2014/main" id="{3A1AC3E7-76BA-4201-BBA6-AFD3EC34233A}"/>
              </a:ext>
            </a:extLst>
          </p:cNvPr>
          <p:cNvSpPr/>
          <p:nvPr/>
        </p:nvSpPr>
        <p:spPr bwMode="auto">
          <a:xfrm>
            <a:off x="5560061" y="4564539"/>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8" name="Oval 107">
            <a:extLst>
              <a:ext uri="{FF2B5EF4-FFF2-40B4-BE49-F238E27FC236}">
                <a16:creationId xmlns:a16="http://schemas.microsoft.com/office/drawing/2014/main" id="{D3B3728B-1385-4E51-9BEC-BBF7223B0AEC}"/>
              </a:ext>
            </a:extLst>
          </p:cNvPr>
          <p:cNvSpPr/>
          <p:nvPr/>
        </p:nvSpPr>
        <p:spPr bwMode="auto">
          <a:xfrm>
            <a:off x="8612762" y="5311661"/>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9" name="Oval 108">
            <a:extLst>
              <a:ext uri="{FF2B5EF4-FFF2-40B4-BE49-F238E27FC236}">
                <a16:creationId xmlns:a16="http://schemas.microsoft.com/office/drawing/2014/main" id="{89EB07F8-0F20-43FF-9102-72A68DBDBFAA}"/>
              </a:ext>
            </a:extLst>
          </p:cNvPr>
          <p:cNvSpPr/>
          <p:nvPr/>
        </p:nvSpPr>
        <p:spPr bwMode="auto">
          <a:xfrm>
            <a:off x="3676191" y="5311661"/>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10" name="Oval 109">
            <a:extLst>
              <a:ext uri="{FF2B5EF4-FFF2-40B4-BE49-F238E27FC236}">
                <a16:creationId xmlns:a16="http://schemas.microsoft.com/office/drawing/2014/main" id="{2B8FC0A1-1AEE-4B61-A4FC-9668CB419C6A}"/>
              </a:ext>
            </a:extLst>
          </p:cNvPr>
          <p:cNvSpPr/>
          <p:nvPr/>
        </p:nvSpPr>
        <p:spPr bwMode="auto">
          <a:xfrm>
            <a:off x="6869916" y="5311661"/>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11" name="TextBox 110">
            <a:extLst>
              <a:ext uri="{FF2B5EF4-FFF2-40B4-BE49-F238E27FC236}">
                <a16:creationId xmlns:a16="http://schemas.microsoft.com/office/drawing/2014/main" id="{8D24E98D-6ECF-4046-8BAF-FAA13A8FF0AD}"/>
              </a:ext>
            </a:extLst>
          </p:cNvPr>
          <p:cNvSpPr txBox="1"/>
          <p:nvPr/>
        </p:nvSpPr>
        <p:spPr>
          <a:xfrm>
            <a:off x="3860819" y="190542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2" name="TextBox 111">
            <a:extLst>
              <a:ext uri="{FF2B5EF4-FFF2-40B4-BE49-F238E27FC236}">
                <a16:creationId xmlns:a16="http://schemas.microsoft.com/office/drawing/2014/main" id="{98F05424-B13F-4BDB-835C-583ED534D4D4}"/>
              </a:ext>
            </a:extLst>
          </p:cNvPr>
          <p:cNvSpPr txBox="1"/>
          <p:nvPr/>
        </p:nvSpPr>
        <p:spPr>
          <a:xfrm>
            <a:off x="6780436" y="190542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3" name="TextBox 112">
            <a:extLst>
              <a:ext uri="{FF2B5EF4-FFF2-40B4-BE49-F238E27FC236}">
                <a16:creationId xmlns:a16="http://schemas.microsoft.com/office/drawing/2014/main" id="{5026139C-13A7-44CE-B088-B8A20F0DB682}"/>
              </a:ext>
            </a:extLst>
          </p:cNvPr>
          <p:cNvSpPr txBox="1"/>
          <p:nvPr/>
        </p:nvSpPr>
        <p:spPr>
          <a:xfrm>
            <a:off x="8626533" y="190542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4" name="TextBox 113">
            <a:extLst>
              <a:ext uri="{FF2B5EF4-FFF2-40B4-BE49-F238E27FC236}">
                <a16:creationId xmlns:a16="http://schemas.microsoft.com/office/drawing/2014/main" id="{B3D9AAC7-8BE5-4992-B78F-5D017C1F9202}"/>
              </a:ext>
            </a:extLst>
          </p:cNvPr>
          <p:cNvSpPr txBox="1"/>
          <p:nvPr/>
        </p:nvSpPr>
        <p:spPr>
          <a:xfrm>
            <a:off x="5148843" y="2720048"/>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5" name="TextBox 114">
            <a:extLst>
              <a:ext uri="{FF2B5EF4-FFF2-40B4-BE49-F238E27FC236}">
                <a16:creationId xmlns:a16="http://schemas.microsoft.com/office/drawing/2014/main" id="{4204758A-081B-4AE9-9257-5D7CBC03365E}"/>
              </a:ext>
            </a:extLst>
          </p:cNvPr>
          <p:cNvSpPr txBox="1"/>
          <p:nvPr/>
        </p:nvSpPr>
        <p:spPr>
          <a:xfrm>
            <a:off x="6416642" y="2720048"/>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6" name="TextBox 115">
            <a:extLst>
              <a:ext uri="{FF2B5EF4-FFF2-40B4-BE49-F238E27FC236}">
                <a16:creationId xmlns:a16="http://schemas.microsoft.com/office/drawing/2014/main" id="{AA2F3C75-5182-463C-BA75-F2C7B7BEB22F}"/>
              </a:ext>
            </a:extLst>
          </p:cNvPr>
          <p:cNvSpPr txBox="1"/>
          <p:nvPr/>
        </p:nvSpPr>
        <p:spPr>
          <a:xfrm>
            <a:off x="8085759" y="2720048"/>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7" name="TextBox 116">
            <a:extLst>
              <a:ext uri="{FF2B5EF4-FFF2-40B4-BE49-F238E27FC236}">
                <a16:creationId xmlns:a16="http://schemas.microsoft.com/office/drawing/2014/main" id="{FF1EE458-03D0-4B0E-9758-8DB61B60B3B7}"/>
              </a:ext>
            </a:extLst>
          </p:cNvPr>
          <p:cNvSpPr txBox="1"/>
          <p:nvPr/>
        </p:nvSpPr>
        <p:spPr>
          <a:xfrm>
            <a:off x="5148843" y="348436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8" name="TextBox 117">
            <a:extLst>
              <a:ext uri="{FF2B5EF4-FFF2-40B4-BE49-F238E27FC236}">
                <a16:creationId xmlns:a16="http://schemas.microsoft.com/office/drawing/2014/main" id="{528607E0-9375-4ED8-B65A-3F9BE7B1B233}"/>
              </a:ext>
            </a:extLst>
          </p:cNvPr>
          <p:cNvSpPr txBox="1"/>
          <p:nvPr/>
        </p:nvSpPr>
        <p:spPr>
          <a:xfrm>
            <a:off x="3795366" y="348436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9" name="TextBox 118">
            <a:extLst>
              <a:ext uri="{FF2B5EF4-FFF2-40B4-BE49-F238E27FC236}">
                <a16:creationId xmlns:a16="http://schemas.microsoft.com/office/drawing/2014/main" id="{E83E37CE-34FB-4D9F-8A52-D60686053F2A}"/>
              </a:ext>
            </a:extLst>
          </p:cNvPr>
          <p:cNvSpPr txBox="1"/>
          <p:nvPr/>
        </p:nvSpPr>
        <p:spPr>
          <a:xfrm>
            <a:off x="6720462" y="348436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0" name="TextBox 119">
            <a:extLst>
              <a:ext uri="{FF2B5EF4-FFF2-40B4-BE49-F238E27FC236}">
                <a16:creationId xmlns:a16="http://schemas.microsoft.com/office/drawing/2014/main" id="{1AC3F6D1-53AA-4932-8CE5-4062DC55CC05}"/>
              </a:ext>
            </a:extLst>
          </p:cNvPr>
          <p:cNvSpPr txBox="1"/>
          <p:nvPr/>
        </p:nvSpPr>
        <p:spPr>
          <a:xfrm>
            <a:off x="5148843" y="4239436"/>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1" name="TextBox 120">
            <a:extLst>
              <a:ext uri="{FF2B5EF4-FFF2-40B4-BE49-F238E27FC236}">
                <a16:creationId xmlns:a16="http://schemas.microsoft.com/office/drawing/2014/main" id="{418421F0-20E9-4344-B118-A0E261E35CB0}"/>
              </a:ext>
            </a:extLst>
          </p:cNvPr>
          <p:cNvSpPr txBox="1"/>
          <p:nvPr/>
        </p:nvSpPr>
        <p:spPr>
          <a:xfrm>
            <a:off x="3284088" y="4239436"/>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2" name="TextBox 121">
            <a:extLst>
              <a:ext uri="{FF2B5EF4-FFF2-40B4-BE49-F238E27FC236}">
                <a16:creationId xmlns:a16="http://schemas.microsoft.com/office/drawing/2014/main" id="{549B8614-70B8-42E1-8719-39E21E31475E}"/>
              </a:ext>
            </a:extLst>
          </p:cNvPr>
          <p:cNvSpPr txBox="1"/>
          <p:nvPr/>
        </p:nvSpPr>
        <p:spPr>
          <a:xfrm>
            <a:off x="6720462" y="4239436"/>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3" name="TextBox 122">
            <a:extLst>
              <a:ext uri="{FF2B5EF4-FFF2-40B4-BE49-F238E27FC236}">
                <a16:creationId xmlns:a16="http://schemas.microsoft.com/office/drawing/2014/main" id="{0172EE7A-8B95-47EE-ADE6-9950FDDDBD6D}"/>
              </a:ext>
            </a:extLst>
          </p:cNvPr>
          <p:cNvSpPr txBox="1"/>
          <p:nvPr/>
        </p:nvSpPr>
        <p:spPr>
          <a:xfrm>
            <a:off x="6446701" y="497604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4" name="TextBox 123">
            <a:extLst>
              <a:ext uri="{FF2B5EF4-FFF2-40B4-BE49-F238E27FC236}">
                <a16:creationId xmlns:a16="http://schemas.microsoft.com/office/drawing/2014/main" id="{8BC50B2F-FFD8-414B-824C-AA5DBBA53B5C}"/>
              </a:ext>
            </a:extLst>
          </p:cNvPr>
          <p:cNvSpPr txBox="1"/>
          <p:nvPr/>
        </p:nvSpPr>
        <p:spPr>
          <a:xfrm>
            <a:off x="3284088" y="497604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5" name="TextBox 124">
            <a:extLst>
              <a:ext uri="{FF2B5EF4-FFF2-40B4-BE49-F238E27FC236}">
                <a16:creationId xmlns:a16="http://schemas.microsoft.com/office/drawing/2014/main" id="{351FEB5A-210C-40B5-90B7-52DADD38FA94}"/>
              </a:ext>
            </a:extLst>
          </p:cNvPr>
          <p:cNvSpPr txBox="1"/>
          <p:nvPr/>
        </p:nvSpPr>
        <p:spPr>
          <a:xfrm>
            <a:off x="8175636" y="497604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cxnSp>
        <p:nvCxnSpPr>
          <p:cNvPr id="131" name="Straight Connector 130">
            <a:extLst>
              <a:ext uri="{FF2B5EF4-FFF2-40B4-BE49-F238E27FC236}">
                <a16:creationId xmlns:a16="http://schemas.microsoft.com/office/drawing/2014/main" id="{9AB62E3C-1F85-4163-80A0-39F04C13B8AA}"/>
              </a:ext>
            </a:extLst>
          </p:cNvPr>
          <p:cNvCxnSpPr>
            <a:cxnSpLocks/>
          </p:cNvCxnSpPr>
          <p:nvPr/>
        </p:nvCxnSpPr>
        <p:spPr>
          <a:xfrm>
            <a:off x="2865738" y="6163564"/>
            <a:ext cx="7651172" cy="0"/>
          </a:xfrm>
          <a:prstGeom prst="line">
            <a:avLst/>
          </a:prstGeom>
          <a:noFill/>
          <a:ln w="12700" cap="flat" cmpd="sng" algn="ctr">
            <a:solidFill>
              <a:srgbClr val="002776">
                <a:shade val="95000"/>
                <a:satMod val="105000"/>
              </a:srgbClr>
            </a:solidFill>
            <a:prstDash val="dash"/>
          </a:ln>
          <a:effectLst/>
        </p:spPr>
      </p:cxnSp>
      <p:sp>
        <p:nvSpPr>
          <p:cNvPr id="132" name="Oval 131">
            <a:extLst>
              <a:ext uri="{FF2B5EF4-FFF2-40B4-BE49-F238E27FC236}">
                <a16:creationId xmlns:a16="http://schemas.microsoft.com/office/drawing/2014/main" id="{FA675A27-F6CB-4472-9130-74A850F86790}"/>
              </a:ext>
            </a:extLst>
          </p:cNvPr>
          <p:cNvSpPr/>
          <p:nvPr/>
        </p:nvSpPr>
        <p:spPr bwMode="auto">
          <a:xfrm>
            <a:off x="8612762" y="6026404"/>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33" name="Oval 132">
            <a:extLst>
              <a:ext uri="{FF2B5EF4-FFF2-40B4-BE49-F238E27FC236}">
                <a16:creationId xmlns:a16="http://schemas.microsoft.com/office/drawing/2014/main" id="{B6DB05D4-35C0-4881-B68A-A3DE2E0B5B54}"/>
              </a:ext>
            </a:extLst>
          </p:cNvPr>
          <p:cNvSpPr/>
          <p:nvPr/>
        </p:nvSpPr>
        <p:spPr bwMode="auto">
          <a:xfrm>
            <a:off x="3676191" y="6026404"/>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34" name="Oval 133">
            <a:extLst>
              <a:ext uri="{FF2B5EF4-FFF2-40B4-BE49-F238E27FC236}">
                <a16:creationId xmlns:a16="http://schemas.microsoft.com/office/drawing/2014/main" id="{811BBF82-427A-4000-AD34-45C29B4C2639}"/>
              </a:ext>
            </a:extLst>
          </p:cNvPr>
          <p:cNvSpPr/>
          <p:nvPr/>
        </p:nvSpPr>
        <p:spPr bwMode="auto">
          <a:xfrm>
            <a:off x="6869916" y="6026404"/>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35" name="TextBox 134">
            <a:extLst>
              <a:ext uri="{FF2B5EF4-FFF2-40B4-BE49-F238E27FC236}">
                <a16:creationId xmlns:a16="http://schemas.microsoft.com/office/drawing/2014/main" id="{8E4A212E-6025-46C2-ACB9-622005CF58FB}"/>
              </a:ext>
            </a:extLst>
          </p:cNvPr>
          <p:cNvSpPr txBox="1"/>
          <p:nvPr/>
        </p:nvSpPr>
        <p:spPr>
          <a:xfrm>
            <a:off x="6446701" y="5690783"/>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36" name="TextBox 135">
            <a:extLst>
              <a:ext uri="{FF2B5EF4-FFF2-40B4-BE49-F238E27FC236}">
                <a16:creationId xmlns:a16="http://schemas.microsoft.com/office/drawing/2014/main" id="{BCB09BF4-05CF-4703-B02A-841C87373374}"/>
              </a:ext>
            </a:extLst>
          </p:cNvPr>
          <p:cNvSpPr txBox="1"/>
          <p:nvPr/>
        </p:nvSpPr>
        <p:spPr>
          <a:xfrm>
            <a:off x="3284088" y="5690783"/>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37" name="TextBox 136">
            <a:extLst>
              <a:ext uri="{FF2B5EF4-FFF2-40B4-BE49-F238E27FC236}">
                <a16:creationId xmlns:a16="http://schemas.microsoft.com/office/drawing/2014/main" id="{E2727E88-9C6C-4623-BBC9-E73EBCAA528A}"/>
              </a:ext>
            </a:extLst>
          </p:cNvPr>
          <p:cNvSpPr txBox="1"/>
          <p:nvPr/>
        </p:nvSpPr>
        <p:spPr>
          <a:xfrm>
            <a:off x="8175636" y="5690783"/>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67" name="Speech Bubble: Rectangle with Corners Rounded 66">
            <a:extLst>
              <a:ext uri="{FF2B5EF4-FFF2-40B4-BE49-F238E27FC236}">
                <a16:creationId xmlns:a16="http://schemas.microsoft.com/office/drawing/2014/main" id="{3C2D5CC4-330E-4E11-83DC-BA6E541A4A39}"/>
              </a:ext>
            </a:extLst>
          </p:cNvPr>
          <p:cNvSpPr/>
          <p:nvPr/>
        </p:nvSpPr>
        <p:spPr bwMode="auto">
          <a:xfrm>
            <a:off x="3886408" y="982854"/>
            <a:ext cx="4328460" cy="640424"/>
          </a:xfrm>
          <a:prstGeom prst="wedgeRoundRectCallout">
            <a:avLst>
              <a:gd name="adj1" fmla="val -69731"/>
              <a:gd name="adj2" fmla="val -2743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Focus on the financial ratios you want to highlight</a:t>
            </a:r>
            <a:endParaRPr lang="en-US" sz="1200" b="1" dirty="0">
              <a:solidFill>
                <a:srgbClr val="0C2870"/>
              </a:solidFill>
              <a:latin typeface="Arial" charset="0"/>
              <a:cs typeface="Times New Roman" pitchFamily="18" charset="0"/>
            </a:endParaRPr>
          </a:p>
        </p:txBody>
      </p:sp>
      <p:sp>
        <p:nvSpPr>
          <p:cNvPr id="4" name="Rectangle: Rounded Corners 3">
            <a:extLst>
              <a:ext uri="{FF2B5EF4-FFF2-40B4-BE49-F238E27FC236}">
                <a16:creationId xmlns:a16="http://schemas.microsoft.com/office/drawing/2014/main" id="{E6D37296-8F7E-6818-30AD-853A3267440E}"/>
              </a:ext>
            </a:extLst>
          </p:cNvPr>
          <p:cNvSpPr/>
          <p:nvPr/>
        </p:nvSpPr>
        <p:spPr>
          <a:xfrm>
            <a:off x="5282194" y="136585"/>
            <a:ext cx="1663438"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Tutorial</a:t>
            </a:r>
          </a:p>
        </p:txBody>
      </p:sp>
    </p:spTree>
    <p:extLst>
      <p:ext uri="{BB962C8B-B14F-4D97-AF65-F5344CB8AC3E}">
        <p14:creationId xmlns:p14="http://schemas.microsoft.com/office/powerpoint/2010/main" val="32547986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Guide</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2308324"/>
          </a:xfrm>
          <a:prstGeom prst="rect">
            <a:avLst/>
          </a:prstGeom>
          <a:noFill/>
        </p:spPr>
        <p:txBody>
          <a:bodyPr wrap="square" rtlCol="0">
            <a:spAutoFit/>
          </a:bodyPr>
          <a:lstStyle/>
          <a:p>
            <a:r>
              <a:rPr lang="en-US" dirty="0"/>
              <a:t>You can use this deliverable directly for your own purposes. You simply need to insert your logo and adjust the slides based on the specificities of your organization.</a:t>
            </a:r>
          </a:p>
          <a:p>
            <a:endParaRPr lang="en-US" dirty="0"/>
          </a:p>
          <a:p>
            <a:r>
              <a:rPr lang="en-US" dirty="0"/>
              <a:t>Please note that this document also includes many slides with best practices, tutorials and real-life examples to help you adjust this deliverable based on the specificities of your organization. These slides have an orange rectangle in the top-right corner. You may decide to delete these slides as they are mainly there to help you fill in the rest of the deliverable. Before you do, copy and paste this document so you always have the original version in case you need it.</a:t>
            </a:r>
          </a:p>
        </p:txBody>
      </p:sp>
    </p:spTree>
    <p:extLst>
      <p:ext uri="{BB962C8B-B14F-4D97-AF65-F5344CB8AC3E}">
        <p14:creationId xmlns:p14="http://schemas.microsoft.com/office/powerpoint/2010/main" val="6548980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ounded Rectangle 33">
            <a:extLst>
              <a:ext uri="{FF2B5EF4-FFF2-40B4-BE49-F238E27FC236}">
                <a16:creationId xmlns:a16="http://schemas.microsoft.com/office/drawing/2014/main" id="{62880837-2C43-40E8-9AF6-B862401777E2}"/>
              </a:ext>
            </a:extLst>
          </p:cNvPr>
          <p:cNvSpPr/>
          <p:nvPr/>
        </p:nvSpPr>
        <p:spPr bwMode="auto">
          <a:xfrm>
            <a:off x="862372" y="2388509"/>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Debt to equity ratio</a:t>
            </a:r>
          </a:p>
        </p:txBody>
      </p:sp>
      <p:sp>
        <p:nvSpPr>
          <p:cNvPr id="127" name="Rounded Rectangle 38">
            <a:extLst>
              <a:ext uri="{FF2B5EF4-FFF2-40B4-BE49-F238E27FC236}">
                <a16:creationId xmlns:a16="http://schemas.microsoft.com/office/drawing/2014/main" id="{9D8C6FBA-53B5-4F81-A74B-1E8F9A7484FB}"/>
              </a:ext>
            </a:extLst>
          </p:cNvPr>
          <p:cNvSpPr/>
          <p:nvPr/>
        </p:nvSpPr>
        <p:spPr bwMode="auto">
          <a:xfrm>
            <a:off x="862372" y="3153843"/>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Debt ratio</a:t>
            </a:r>
          </a:p>
        </p:txBody>
      </p:sp>
      <p:sp>
        <p:nvSpPr>
          <p:cNvPr id="128" name="Rounded Rectangle 42">
            <a:extLst>
              <a:ext uri="{FF2B5EF4-FFF2-40B4-BE49-F238E27FC236}">
                <a16:creationId xmlns:a16="http://schemas.microsoft.com/office/drawing/2014/main" id="{71CE224F-9636-4E50-9853-22A0052BD165}"/>
              </a:ext>
            </a:extLst>
          </p:cNvPr>
          <p:cNvSpPr/>
          <p:nvPr/>
        </p:nvSpPr>
        <p:spPr bwMode="auto">
          <a:xfrm>
            <a:off x="862372" y="3919177"/>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Times interest earned (TIE) ratio</a:t>
            </a:r>
          </a:p>
        </p:txBody>
      </p:sp>
      <p:sp>
        <p:nvSpPr>
          <p:cNvPr id="129" name="Rounded Rectangle 46">
            <a:extLst>
              <a:ext uri="{FF2B5EF4-FFF2-40B4-BE49-F238E27FC236}">
                <a16:creationId xmlns:a16="http://schemas.microsoft.com/office/drawing/2014/main" id="{706028E1-F1CE-49C0-B366-83E32F82CDC9}"/>
              </a:ext>
            </a:extLst>
          </p:cNvPr>
          <p:cNvSpPr/>
          <p:nvPr/>
        </p:nvSpPr>
        <p:spPr bwMode="auto">
          <a:xfrm>
            <a:off x="862372" y="4675275"/>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Cash ratio</a:t>
            </a:r>
          </a:p>
        </p:txBody>
      </p:sp>
      <p:sp>
        <p:nvSpPr>
          <p:cNvPr id="130" name="Rounded Rectangle 50">
            <a:extLst>
              <a:ext uri="{FF2B5EF4-FFF2-40B4-BE49-F238E27FC236}">
                <a16:creationId xmlns:a16="http://schemas.microsoft.com/office/drawing/2014/main" id="{0176836C-62DF-4238-BF60-E3EC060D49DE}"/>
              </a:ext>
            </a:extLst>
          </p:cNvPr>
          <p:cNvSpPr/>
          <p:nvPr/>
        </p:nvSpPr>
        <p:spPr bwMode="auto">
          <a:xfrm>
            <a:off x="862372" y="5412899"/>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Quick ratio</a:t>
            </a: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ummary of our financial statement analysis</a:t>
            </a:r>
            <a:br>
              <a:rPr lang="en-US" sz="2400" dirty="0"/>
            </a:br>
            <a:r>
              <a:rPr lang="en-US" sz="2400" b="0" dirty="0"/>
              <a:t>Solvency ratio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20</a:t>
            </a:fld>
            <a:endParaRPr lang="en-US" dirty="0">
              <a:solidFill>
                <a:srgbClr val="ADAFBB"/>
              </a:solidFill>
            </a:endParaRPr>
          </a:p>
        </p:txBody>
      </p:sp>
      <p:sp>
        <p:nvSpPr>
          <p:cNvPr id="60" name="Oval 59">
            <a:extLst>
              <a:ext uri="{FF2B5EF4-FFF2-40B4-BE49-F238E27FC236}">
                <a16:creationId xmlns:a16="http://schemas.microsoft.com/office/drawing/2014/main" id="{D7FE79AC-8102-42A4-85B2-BA3C025F66A2}"/>
              </a:ext>
            </a:extLst>
          </p:cNvPr>
          <p:cNvSpPr/>
          <p:nvPr/>
        </p:nvSpPr>
        <p:spPr bwMode="auto">
          <a:xfrm>
            <a:off x="10243766" y="361285"/>
            <a:ext cx="27432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1" name="TextBox 60">
            <a:extLst>
              <a:ext uri="{FF2B5EF4-FFF2-40B4-BE49-F238E27FC236}">
                <a16:creationId xmlns:a16="http://schemas.microsoft.com/office/drawing/2014/main" id="{CFCE2A13-3281-42F0-9E3D-DCF6B6A3BA07}"/>
              </a:ext>
            </a:extLst>
          </p:cNvPr>
          <p:cNvSpPr txBox="1"/>
          <p:nvPr/>
        </p:nvSpPr>
        <p:spPr>
          <a:xfrm>
            <a:off x="10155390" y="364996"/>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X</a:t>
            </a:r>
          </a:p>
        </p:txBody>
      </p:sp>
      <p:sp>
        <p:nvSpPr>
          <p:cNvPr id="62" name="Oval 61">
            <a:extLst>
              <a:ext uri="{FF2B5EF4-FFF2-40B4-BE49-F238E27FC236}">
                <a16:creationId xmlns:a16="http://schemas.microsoft.com/office/drawing/2014/main" id="{B24BB676-FDCB-46DE-A580-B04F9193D736}"/>
              </a:ext>
            </a:extLst>
          </p:cNvPr>
          <p:cNvSpPr/>
          <p:nvPr/>
        </p:nvSpPr>
        <p:spPr bwMode="auto">
          <a:xfrm>
            <a:off x="10242590" y="734911"/>
            <a:ext cx="27432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3" name="TextBox 62">
            <a:extLst>
              <a:ext uri="{FF2B5EF4-FFF2-40B4-BE49-F238E27FC236}">
                <a16:creationId xmlns:a16="http://schemas.microsoft.com/office/drawing/2014/main" id="{BE93EF03-424F-4C8C-8E9B-3B7101B0632F}"/>
              </a:ext>
            </a:extLst>
          </p:cNvPr>
          <p:cNvSpPr txBox="1"/>
          <p:nvPr/>
        </p:nvSpPr>
        <p:spPr>
          <a:xfrm>
            <a:off x="10155390" y="738622"/>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Y</a:t>
            </a:r>
          </a:p>
        </p:txBody>
      </p:sp>
      <p:sp>
        <p:nvSpPr>
          <p:cNvPr id="64" name="Oval 63">
            <a:extLst>
              <a:ext uri="{FF2B5EF4-FFF2-40B4-BE49-F238E27FC236}">
                <a16:creationId xmlns:a16="http://schemas.microsoft.com/office/drawing/2014/main" id="{98FCC64D-DC7C-493D-9174-F3D4AA26D031}"/>
              </a:ext>
            </a:extLst>
          </p:cNvPr>
          <p:cNvSpPr/>
          <p:nvPr/>
        </p:nvSpPr>
        <p:spPr bwMode="auto">
          <a:xfrm>
            <a:off x="10242590" y="1108537"/>
            <a:ext cx="27432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5" name="TextBox 64">
            <a:extLst>
              <a:ext uri="{FF2B5EF4-FFF2-40B4-BE49-F238E27FC236}">
                <a16:creationId xmlns:a16="http://schemas.microsoft.com/office/drawing/2014/main" id="{2DF91A00-00B2-4F8A-B4CE-AFC2BBD8D28D}"/>
              </a:ext>
            </a:extLst>
          </p:cNvPr>
          <p:cNvSpPr txBox="1"/>
          <p:nvPr/>
        </p:nvSpPr>
        <p:spPr>
          <a:xfrm>
            <a:off x="10155390" y="1112248"/>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Z</a:t>
            </a:r>
          </a:p>
        </p:txBody>
      </p:sp>
      <p:sp>
        <p:nvSpPr>
          <p:cNvPr id="89" name="TextBox 88">
            <a:extLst>
              <a:ext uri="{FF2B5EF4-FFF2-40B4-BE49-F238E27FC236}">
                <a16:creationId xmlns:a16="http://schemas.microsoft.com/office/drawing/2014/main" id="{5293073A-0CB1-404E-A602-3F3B39B206FF}"/>
              </a:ext>
            </a:extLst>
          </p:cNvPr>
          <p:cNvSpPr txBox="1"/>
          <p:nvPr/>
        </p:nvSpPr>
        <p:spPr>
          <a:xfrm>
            <a:off x="2486153" y="1856808"/>
            <a:ext cx="98777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Worst peer</a:t>
            </a:r>
          </a:p>
        </p:txBody>
      </p:sp>
      <p:sp>
        <p:nvSpPr>
          <p:cNvPr id="90" name="TextBox 89">
            <a:extLst>
              <a:ext uri="{FF2B5EF4-FFF2-40B4-BE49-F238E27FC236}">
                <a16:creationId xmlns:a16="http://schemas.microsoft.com/office/drawing/2014/main" id="{02B670F7-7F0D-4044-B54E-60EFA8DE668F}"/>
              </a:ext>
            </a:extLst>
          </p:cNvPr>
          <p:cNvSpPr txBox="1"/>
          <p:nvPr/>
        </p:nvSpPr>
        <p:spPr>
          <a:xfrm>
            <a:off x="10063134" y="1856808"/>
            <a:ext cx="883575"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Best peer</a:t>
            </a:r>
          </a:p>
        </p:txBody>
      </p:sp>
      <p:cxnSp>
        <p:nvCxnSpPr>
          <p:cNvPr id="91" name="Straight Connector 90">
            <a:extLst>
              <a:ext uri="{FF2B5EF4-FFF2-40B4-BE49-F238E27FC236}">
                <a16:creationId xmlns:a16="http://schemas.microsoft.com/office/drawing/2014/main" id="{C6B2FD17-5152-440D-9263-CDF1F0DF1963}"/>
              </a:ext>
            </a:extLst>
          </p:cNvPr>
          <p:cNvCxnSpPr>
            <a:cxnSpLocks/>
          </p:cNvCxnSpPr>
          <p:nvPr/>
        </p:nvCxnSpPr>
        <p:spPr>
          <a:xfrm>
            <a:off x="2865738" y="2698101"/>
            <a:ext cx="7651172" cy="0"/>
          </a:xfrm>
          <a:prstGeom prst="line">
            <a:avLst/>
          </a:prstGeom>
          <a:noFill/>
          <a:ln w="12700" cap="flat" cmpd="sng" algn="ctr">
            <a:solidFill>
              <a:srgbClr val="002776">
                <a:shade val="95000"/>
                <a:satMod val="105000"/>
              </a:srgbClr>
            </a:solidFill>
            <a:prstDash val="dash"/>
          </a:ln>
          <a:effectLst/>
        </p:spPr>
      </p:cxnSp>
      <p:cxnSp>
        <p:nvCxnSpPr>
          <p:cNvPr id="92" name="Straight Connector 91">
            <a:extLst>
              <a:ext uri="{FF2B5EF4-FFF2-40B4-BE49-F238E27FC236}">
                <a16:creationId xmlns:a16="http://schemas.microsoft.com/office/drawing/2014/main" id="{D8834B92-3834-41F6-AE53-ADBD2438017C}"/>
              </a:ext>
            </a:extLst>
          </p:cNvPr>
          <p:cNvCxnSpPr>
            <a:cxnSpLocks/>
          </p:cNvCxnSpPr>
          <p:nvPr/>
        </p:nvCxnSpPr>
        <p:spPr>
          <a:xfrm>
            <a:off x="2865738" y="3473724"/>
            <a:ext cx="7651172" cy="0"/>
          </a:xfrm>
          <a:prstGeom prst="line">
            <a:avLst/>
          </a:prstGeom>
          <a:noFill/>
          <a:ln w="12700" cap="flat" cmpd="sng" algn="ctr">
            <a:solidFill>
              <a:srgbClr val="002776">
                <a:shade val="95000"/>
                <a:satMod val="105000"/>
              </a:srgbClr>
            </a:solidFill>
            <a:prstDash val="dash"/>
          </a:ln>
          <a:effectLst/>
        </p:spPr>
      </p:cxnSp>
      <p:cxnSp>
        <p:nvCxnSpPr>
          <p:cNvPr id="93" name="Straight Connector 92">
            <a:extLst>
              <a:ext uri="{FF2B5EF4-FFF2-40B4-BE49-F238E27FC236}">
                <a16:creationId xmlns:a16="http://schemas.microsoft.com/office/drawing/2014/main" id="{D64383E5-7894-4068-B541-9FBE2E3C1901}"/>
              </a:ext>
            </a:extLst>
          </p:cNvPr>
          <p:cNvCxnSpPr>
            <a:cxnSpLocks/>
          </p:cNvCxnSpPr>
          <p:nvPr/>
        </p:nvCxnSpPr>
        <p:spPr>
          <a:xfrm>
            <a:off x="2865738" y="4249347"/>
            <a:ext cx="7651172" cy="0"/>
          </a:xfrm>
          <a:prstGeom prst="line">
            <a:avLst/>
          </a:prstGeom>
          <a:noFill/>
          <a:ln w="12700" cap="flat" cmpd="sng" algn="ctr">
            <a:solidFill>
              <a:srgbClr val="002776">
                <a:shade val="95000"/>
                <a:satMod val="105000"/>
              </a:srgbClr>
            </a:solidFill>
            <a:prstDash val="dash"/>
          </a:ln>
          <a:effectLst/>
        </p:spPr>
      </p:cxnSp>
      <p:cxnSp>
        <p:nvCxnSpPr>
          <p:cNvPr id="94" name="Straight Connector 93">
            <a:extLst>
              <a:ext uri="{FF2B5EF4-FFF2-40B4-BE49-F238E27FC236}">
                <a16:creationId xmlns:a16="http://schemas.microsoft.com/office/drawing/2014/main" id="{303D6ABA-D966-49AC-86D8-C36DDE18981F}"/>
              </a:ext>
            </a:extLst>
          </p:cNvPr>
          <p:cNvCxnSpPr>
            <a:cxnSpLocks/>
          </p:cNvCxnSpPr>
          <p:nvPr/>
        </p:nvCxnSpPr>
        <p:spPr>
          <a:xfrm>
            <a:off x="2865738" y="5015734"/>
            <a:ext cx="7651172" cy="0"/>
          </a:xfrm>
          <a:prstGeom prst="line">
            <a:avLst/>
          </a:prstGeom>
          <a:noFill/>
          <a:ln w="12700" cap="flat" cmpd="sng" algn="ctr">
            <a:solidFill>
              <a:srgbClr val="002776">
                <a:shade val="95000"/>
                <a:satMod val="105000"/>
              </a:srgbClr>
            </a:solidFill>
            <a:prstDash val="dash"/>
          </a:ln>
          <a:effectLst/>
        </p:spPr>
      </p:cxnSp>
      <p:cxnSp>
        <p:nvCxnSpPr>
          <p:cNvPr id="95" name="Straight Connector 94">
            <a:extLst>
              <a:ext uri="{FF2B5EF4-FFF2-40B4-BE49-F238E27FC236}">
                <a16:creationId xmlns:a16="http://schemas.microsoft.com/office/drawing/2014/main" id="{6690E34B-0B6B-4989-AF85-209849AF3AEA}"/>
              </a:ext>
            </a:extLst>
          </p:cNvPr>
          <p:cNvCxnSpPr>
            <a:cxnSpLocks/>
          </p:cNvCxnSpPr>
          <p:nvPr/>
        </p:nvCxnSpPr>
        <p:spPr>
          <a:xfrm>
            <a:off x="2865738" y="5762856"/>
            <a:ext cx="7651172" cy="0"/>
          </a:xfrm>
          <a:prstGeom prst="line">
            <a:avLst/>
          </a:prstGeom>
          <a:noFill/>
          <a:ln w="12700" cap="flat" cmpd="sng" algn="ctr">
            <a:solidFill>
              <a:srgbClr val="002776">
                <a:shade val="95000"/>
                <a:satMod val="105000"/>
              </a:srgbClr>
            </a:solidFill>
            <a:prstDash val="dash"/>
          </a:ln>
          <a:effectLst/>
        </p:spPr>
      </p:cxnSp>
      <p:sp>
        <p:nvSpPr>
          <p:cNvPr id="96" name="Oval 95">
            <a:extLst>
              <a:ext uri="{FF2B5EF4-FFF2-40B4-BE49-F238E27FC236}">
                <a16:creationId xmlns:a16="http://schemas.microsoft.com/office/drawing/2014/main" id="{C6176997-2C40-4461-B178-9AF06DC7F40E}"/>
              </a:ext>
            </a:extLst>
          </p:cNvPr>
          <p:cNvSpPr/>
          <p:nvPr/>
        </p:nvSpPr>
        <p:spPr bwMode="auto">
          <a:xfrm>
            <a:off x="4290038" y="2560941"/>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7" name="Oval 96">
            <a:extLst>
              <a:ext uri="{FF2B5EF4-FFF2-40B4-BE49-F238E27FC236}">
                <a16:creationId xmlns:a16="http://schemas.microsoft.com/office/drawing/2014/main" id="{352340E1-6DBB-4431-AD46-6802F240351C}"/>
              </a:ext>
            </a:extLst>
          </p:cNvPr>
          <p:cNvSpPr/>
          <p:nvPr/>
        </p:nvSpPr>
        <p:spPr bwMode="auto">
          <a:xfrm>
            <a:off x="7209656" y="2560941"/>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8" name="Oval 97">
            <a:extLst>
              <a:ext uri="{FF2B5EF4-FFF2-40B4-BE49-F238E27FC236}">
                <a16:creationId xmlns:a16="http://schemas.microsoft.com/office/drawing/2014/main" id="{F9679BBD-0063-4328-9918-EBF953F9AB7A}"/>
              </a:ext>
            </a:extLst>
          </p:cNvPr>
          <p:cNvSpPr/>
          <p:nvPr/>
        </p:nvSpPr>
        <p:spPr bwMode="auto">
          <a:xfrm>
            <a:off x="9055753" y="2560941"/>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9" name="Oval 98">
            <a:extLst>
              <a:ext uri="{FF2B5EF4-FFF2-40B4-BE49-F238E27FC236}">
                <a16:creationId xmlns:a16="http://schemas.microsoft.com/office/drawing/2014/main" id="{2DB93F9E-B1C9-4A41-8709-419FF2D61EF5}"/>
              </a:ext>
            </a:extLst>
          </p:cNvPr>
          <p:cNvSpPr/>
          <p:nvPr/>
        </p:nvSpPr>
        <p:spPr bwMode="auto">
          <a:xfrm>
            <a:off x="4227147" y="4112187"/>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0" name="Oval 99">
            <a:extLst>
              <a:ext uri="{FF2B5EF4-FFF2-40B4-BE49-F238E27FC236}">
                <a16:creationId xmlns:a16="http://schemas.microsoft.com/office/drawing/2014/main" id="{223CD049-E8E0-4E33-884D-DE91B1F5B885}"/>
              </a:ext>
            </a:extLst>
          </p:cNvPr>
          <p:cNvSpPr/>
          <p:nvPr/>
        </p:nvSpPr>
        <p:spPr bwMode="auto">
          <a:xfrm>
            <a:off x="7148321" y="4112187"/>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1" name="Oval 100">
            <a:extLst>
              <a:ext uri="{FF2B5EF4-FFF2-40B4-BE49-F238E27FC236}">
                <a16:creationId xmlns:a16="http://schemas.microsoft.com/office/drawing/2014/main" id="{F5340496-77D2-489A-9CC9-A683CD7AEB5C}"/>
              </a:ext>
            </a:extLst>
          </p:cNvPr>
          <p:cNvSpPr/>
          <p:nvPr/>
        </p:nvSpPr>
        <p:spPr bwMode="auto">
          <a:xfrm>
            <a:off x="3676191" y="4878574"/>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2" name="Oval 101">
            <a:extLst>
              <a:ext uri="{FF2B5EF4-FFF2-40B4-BE49-F238E27FC236}">
                <a16:creationId xmlns:a16="http://schemas.microsoft.com/office/drawing/2014/main" id="{FEA49C4B-4355-421C-A290-1E1A9F96E757}"/>
              </a:ext>
            </a:extLst>
          </p:cNvPr>
          <p:cNvSpPr/>
          <p:nvPr/>
        </p:nvSpPr>
        <p:spPr bwMode="auto">
          <a:xfrm>
            <a:off x="6869916" y="3336564"/>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3" name="Oval 102">
            <a:extLst>
              <a:ext uri="{FF2B5EF4-FFF2-40B4-BE49-F238E27FC236}">
                <a16:creationId xmlns:a16="http://schemas.microsoft.com/office/drawing/2014/main" id="{5071BEF8-ADB4-47BA-9936-292982348B44}"/>
              </a:ext>
            </a:extLst>
          </p:cNvPr>
          <p:cNvSpPr/>
          <p:nvPr/>
        </p:nvSpPr>
        <p:spPr bwMode="auto">
          <a:xfrm>
            <a:off x="8493312" y="3336564"/>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4" name="Oval 103">
            <a:extLst>
              <a:ext uri="{FF2B5EF4-FFF2-40B4-BE49-F238E27FC236}">
                <a16:creationId xmlns:a16="http://schemas.microsoft.com/office/drawing/2014/main" id="{2ABE6662-C4E5-435A-9FBA-A82576213985}"/>
              </a:ext>
            </a:extLst>
          </p:cNvPr>
          <p:cNvSpPr/>
          <p:nvPr/>
        </p:nvSpPr>
        <p:spPr bwMode="auto">
          <a:xfrm>
            <a:off x="5559523" y="3336564"/>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5" name="Oval 104">
            <a:extLst>
              <a:ext uri="{FF2B5EF4-FFF2-40B4-BE49-F238E27FC236}">
                <a16:creationId xmlns:a16="http://schemas.microsoft.com/office/drawing/2014/main" id="{42787DF1-FF33-4A37-BB01-6DF7C908619A}"/>
              </a:ext>
            </a:extLst>
          </p:cNvPr>
          <p:cNvSpPr/>
          <p:nvPr/>
        </p:nvSpPr>
        <p:spPr bwMode="auto">
          <a:xfrm>
            <a:off x="5560061" y="4112187"/>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6" name="Oval 105">
            <a:extLst>
              <a:ext uri="{FF2B5EF4-FFF2-40B4-BE49-F238E27FC236}">
                <a16:creationId xmlns:a16="http://schemas.microsoft.com/office/drawing/2014/main" id="{E4572C8A-77D0-479D-B571-A8FCA205A5DE}"/>
              </a:ext>
            </a:extLst>
          </p:cNvPr>
          <p:cNvSpPr/>
          <p:nvPr/>
        </p:nvSpPr>
        <p:spPr bwMode="auto">
          <a:xfrm>
            <a:off x="7148321" y="4878574"/>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7" name="Oval 106">
            <a:extLst>
              <a:ext uri="{FF2B5EF4-FFF2-40B4-BE49-F238E27FC236}">
                <a16:creationId xmlns:a16="http://schemas.microsoft.com/office/drawing/2014/main" id="{3A1AC3E7-76BA-4201-BBA6-AFD3EC34233A}"/>
              </a:ext>
            </a:extLst>
          </p:cNvPr>
          <p:cNvSpPr/>
          <p:nvPr/>
        </p:nvSpPr>
        <p:spPr bwMode="auto">
          <a:xfrm>
            <a:off x="5560061" y="4878574"/>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8" name="Oval 107">
            <a:extLst>
              <a:ext uri="{FF2B5EF4-FFF2-40B4-BE49-F238E27FC236}">
                <a16:creationId xmlns:a16="http://schemas.microsoft.com/office/drawing/2014/main" id="{D3B3728B-1385-4E51-9BEC-BBF7223B0AEC}"/>
              </a:ext>
            </a:extLst>
          </p:cNvPr>
          <p:cNvSpPr/>
          <p:nvPr/>
        </p:nvSpPr>
        <p:spPr bwMode="auto">
          <a:xfrm>
            <a:off x="8612762" y="5625696"/>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9" name="Oval 108">
            <a:extLst>
              <a:ext uri="{FF2B5EF4-FFF2-40B4-BE49-F238E27FC236}">
                <a16:creationId xmlns:a16="http://schemas.microsoft.com/office/drawing/2014/main" id="{89EB07F8-0F20-43FF-9102-72A68DBDBFAA}"/>
              </a:ext>
            </a:extLst>
          </p:cNvPr>
          <p:cNvSpPr/>
          <p:nvPr/>
        </p:nvSpPr>
        <p:spPr bwMode="auto">
          <a:xfrm>
            <a:off x="3676191" y="5625696"/>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10" name="Oval 109">
            <a:extLst>
              <a:ext uri="{FF2B5EF4-FFF2-40B4-BE49-F238E27FC236}">
                <a16:creationId xmlns:a16="http://schemas.microsoft.com/office/drawing/2014/main" id="{2B8FC0A1-1AEE-4B61-A4FC-9668CB419C6A}"/>
              </a:ext>
            </a:extLst>
          </p:cNvPr>
          <p:cNvSpPr/>
          <p:nvPr/>
        </p:nvSpPr>
        <p:spPr bwMode="auto">
          <a:xfrm>
            <a:off x="6869916" y="5625696"/>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11" name="TextBox 110">
            <a:extLst>
              <a:ext uri="{FF2B5EF4-FFF2-40B4-BE49-F238E27FC236}">
                <a16:creationId xmlns:a16="http://schemas.microsoft.com/office/drawing/2014/main" id="{8D24E98D-6ECF-4046-8BAF-FAA13A8FF0AD}"/>
              </a:ext>
            </a:extLst>
          </p:cNvPr>
          <p:cNvSpPr txBox="1"/>
          <p:nvPr/>
        </p:nvSpPr>
        <p:spPr>
          <a:xfrm>
            <a:off x="3860819" y="221946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2" name="TextBox 111">
            <a:extLst>
              <a:ext uri="{FF2B5EF4-FFF2-40B4-BE49-F238E27FC236}">
                <a16:creationId xmlns:a16="http://schemas.microsoft.com/office/drawing/2014/main" id="{98F05424-B13F-4BDB-835C-583ED534D4D4}"/>
              </a:ext>
            </a:extLst>
          </p:cNvPr>
          <p:cNvSpPr txBox="1"/>
          <p:nvPr/>
        </p:nvSpPr>
        <p:spPr>
          <a:xfrm>
            <a:off x="6780436" y="221946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3" name="TextBox 112">
            <a:extLst>
              <a:ext uri="{FF2B5EF4-FFF2-40B4-BE49-F238E27FC236}">
                <a16:creationId xmlns:a16="http://schemas.microsoft.com/office/drawing/2014/main" id="{5026139C-13A7-44CE-B088-B8A20F0DB682}"/>
              </a:ext>
            </a:extLst>
          </p:cNvPr>
          <p:cNvSpPr txBox="1"/>
          <p:nvPr/>
        </p:nvSpPr>
        <p:spPr>
          <a:xfrm>
            <a:off x="8626533" y="221946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4" name="TextBox 113">
            <a:extLst>
              <a:ext uri="{FF2B5EF4-FFF2-40B4-BE49-F238E27FC236}">
                <a16:creationId xmlns:a16="http://schemas.microsoft.com/office/drawing/2014/main" id="{B3D9AAC7-8BE5-4992-B78F-5D017C1F9202}"/>
              </a:ext>
            </a:extLst>
          </p:cNvPr>
          <p:cNvSpPr txBox="1"/>
          <p:nvPr/>
        </p:nvSpPr>
        <p:spPr>
          <a:xfrm>
            <a:off x="5148843" y="3034083"/>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5" name="TextBox 114">
            <a:extLst>
              <a:ext uri="{FF2B5EF4-FFF2-40B4-BE49-F238E27FC236}">
                <a16:creationId xmlns:a16="http://schemas.microsoft.com/office/drawing/2014/main" id="{4204758A-081B-4AE9-9257-5D7CBC03365E}"/>
              </a:ext>
            </a:extLst>
          </p:cNvPr>
          <p:cNvSpPr txBox="1"/>
          <p:nvPr/>
        </p:nvSpPr>
        <p:spPr>
          <a:xfrm>
            <a:off x="6416642" y="3034083"/>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6" name="TextBox 115">
            <a:extLst>
              <a:ext uri="{FF2B5EF4-FFF2-40B4-BE49-F238E27FC236}">
                <a16:creationId xmlns:a16="http://schemas.microsoft.com/office/drawing/2014/main" id="{AA2F3C75-5182-463C-BA75-F2C7B7BEB22F}"/>
              </a:ext>
            </a:extLst>
          </p:cNvPr>
          <p:cNvSpPr txBox="1"/>
          <p:nvPr/>
        </p:nvSpPr>
        <p:spPr>
          <a:xfrm>
            <a:off x="8085759" y="3034083"/>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7" name="TextBox 116">
            <a:extLst>
              <a:ext uri="{FF2B5EF4-FFF2-40B4-BE49-F238E27FC236}">
                <a16:creationId xmlns:a16="http://schemas.microsoft.com/office/drawing/2014/main" id="{FF1EE458-03D0-4B0E-9758-8DB61B60B3B7}"/>
              </a:ext>
            </a:extLst>
          </p:cNvPr>
          <p:cNvSpPr txBox="1"/>
          <p:nvPr/>
        </p:nvSpPr>
        <p:spPr>
          <a:xfrm>
            <a:off x="5148843" y="379839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8" name="TextBox 117">
            <a:extLst>
              <a:ext uri="{FF2B5EF4-FFF2-40B4-BE49-F238E27FC236}">
                <a16:creationId xmlns:a16="http://schemas.microsoft.com/office/drawing/2014/main" id="{528607E0-9375-4ED8-B65A-3F9BE7B1B233}"/>
              </a:ext>
            </a:extLst>
          </p:cNvPr>
          <p:cNvSpPr txBox="1"/>
          <p:nvPr/>
        </p:nvSpPr>
        <p:spPr>
          <a:xfrm>
            <a:off x="3795366" y="379839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9" name="TextBox 118">
            <a:extLst>
              <a:ext uri="{FF2B5EF4-FFF2-40B4-BE49-F238E27FC236}">
                <a16:creationId xmlns:a16="http://schemas.microsoft.com/office/drawing/2014/main" id="{E83E37CE-34FB-4D9F-8A52-D60686053F2A}"/>
              </a:ext>
            </a:extLst>
          </p:cNvPr>
          <p:cNvSpPr txBox="1"/>
          <p:nvPr/>
        </p:nvSpPr>
        <p:spPr>
          <a:xfrm>
            <a:off x="6720462" y="379839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0" name="TextBox 119">
            <a:extLst>
              <a:ext uri="{FF2B5EF4-FFF2-40B4-BE49-F238E27FC236}">
                <a16:creationId xmlns:a16="http://schemas.microsoft.com/office/drawing/2014/main" id="{1AC3F6D1-53AA-4932-8CE5-4062DC55CC05}"/>
              </a:ext>
            </a:extLst>
          </p:cNvPr>
          <p:cNvSpPr txBox="1"/>
          <p:nvPr/>
        </p:nvSpPr>
        <p:spPr>
          <a:xfrm>
            <a:off x="5148843" y="4553471"/>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1" name="TextBox 120">
            <a:extLst>
              <a:ext uri="{FF2B5EF4-FFF2-40B4-BE49-F238E27FC236}">
                <a16:creationId xmlns:a16="http://schemas.microsoft.com/office/drawing/2014/main" id="{418421F0-20E9-4344-B118-A0E261E35CB0}"/>
              </a:ext>
            </a:extLst>
          </p:cNvPr>
          <p:cNvSpPr txBox="1"/>
          <p:nvPr/>
        </p:nvSpPr>
        <p:spPr>
          <a:xfrm>
            <a:off x="3284088" y="4553471"/>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2" name="TextBox 121">
            <a:extLst>
              <a:ext uri="{FF2B5EF4-FFF2-40B4-BE49-F238E27FC236}">
                <a16:creationId xmlns:a16="http://schemas.microsoft.com/office/drawing/2014/main" id="{549B8614-70B8-42E1-8719-39E21E31475E}"/>
              </a:ext>
            </a:extLst>
          </p:cNvPr>
          <p:cNvSpPr txBox="1"/>
          <p:nvPr/>
        </p:nvSpPr>
        <p:spPr>
          <a:xfrm>
            <a:off x="6720462" y="4553471"/>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3" name="TextBox 122">
            <a:extLst>
              <a:ext uri="{FF2B5EF4-FFF2-40B4-BE49-F238E27FC236}">
                <a16:creationId xmlns:a16="http://schemas.microsoft.com/office/drawing/2014/main" id="{0172EE7A-8B95-47EE-ADE6-9950FDDDBD6D}"/>
              </a:ext>
            </a:extLst>
          </p:cNvPr>
          <p:cNvSpPr txBox="1"/>
          <p:nvPr/>
        </p:nvSpPr>
        <p:spPr>
          <a:xfrm>
            <a:off x="6446701" y="529007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4" name="TextBox 123">
            <a:extLst>
              <a:ext uri="{FF2B5EF4-FFF2-40B4-BE49-F238E27FC236}">
                <a16:creationId xmlns:a16="http://schemas.microsoft.com/office/drawing/2014/main" id="{8BC50B2F-FFD8-414B-824C-AA5DBBA53B5C}"/>
              </a:ext>
            </a:extLst>
          </p:cNvPr>
          <p:cNvSpPr txBox="1"/>
          <p:nvPr/>
        </p:nvSpPr>
        <p:spPr>
          <a:xfrm>
            <a:off x="3284088" y="529007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5" name="TextBox 124">
            <a:extLst>
              <a:ext uri="{FF2B5EF4-FFF2-40B4-BE49-F238E27FC236}">
                <a16:creationId xmlns:a16="http://schemas.microsoft.com/office/drawing/2014/main" id="{351FEB5A-210C-40B5-90B7-52DADD38FA94}"/>
              </a:ext>
            </a:extLst>
          </p:cNvPr>
          <p:cNvSpPr txBox="1"/>
          <p:nvPr/>
        </p:nvSpPr>
        <p:spPr>
          <a:xfrm>
            <a:off x="8175636" y="529007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3" name="Speech Bubble: Rectangle with Corners Rounded 2">
            <a:extLst>
              <a:ext uri="{FF2B5EF4-FFF2-40B4-BE49-F238E27FC236}">
                <a16:creationId xmlns:a16="http://schemas.microsoft.com/office/drawing/2014/main" id="{1278AB7A-3A8B-1B53-D1DB-0F632E9E8C6A}"/>
              </a:ext>
            </a:extLst>
          </p:cNvPr>
          <p:cNvSpPr/>
          <p:nvPr/>
        </p:nvSpPr>
        <p:spPr bwMode="auto">
          <a:xfrm>
            <a:off x="3026836" y="2583709"/>
            <a:ext cx="4328460" cy="640424"/>
          </a:xfrm>
          <a:prstGeom prst="wedgeRoundRectCallout">
            <a:avLst>
              <a:gd name="adj1" fmla="val -68675"/>
              <a:gd name="adj2" fmla="val 6894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Focus on the financial ratios you want to highlight</a:t>
            </a:r>
            <a:endParaRPr lang="en-US" sz="1200" b="1" dirty="0">
              <a:solidFill>
                <a:srgbClr val="0C2870"/>
              </a:solidFill>
              <a:latin typeface="Arial" charset="0"/>
              <a:cs typeface="Times New Roman" pitchFamily="18" charset="0"/>
            </a:endParaRPr>
          </a:p>
        </p:txBody>
      </p:sp>
      <p:sp>
        <p:nvSpPr>
          <p:cNvPr id="5" name="Rectangle: Rounded Corners 4">
            <a:extLst>
              <a:ext uri="{FF2B5EF4-FFF2-40B4-BE49-F238E27FC236}">
                <a16:creationId xmlns:a16="http://schemas.microsoft.com/office/drawing/2014/main" id="{30ED8265-B232-0DBD-1C96-37A21E821525}"/>
              </a:ext>
            </a:extLst>
          </p:cNvPr>
          <p:cNvSpPr/>
          <p:nvPr/>
        </p:nvSpPr>
        <p:spPr>
          <a:xfrm>
            <a:off x="5282194" y="136585"/>
            <a:ext cx="1663438"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Tutorial</a:t>
            </a:r>
          </a:p>
        </p:txBody>
      </p:sp>
    </p:spTree>
    <p:extLst>
      <p:ext uri="{BB962C8B-B14F-4D97-AF65-F5344CB8AC3E}">
        <p14:creationId xmlns:p14="http://schemas.microsoft.com/office/powerpoint/2010/main" val="32972084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ounded Rectangle 33">
            <a:extLst>
              <a:ext uri="{FF2B5EF4-FFF2-40B4-BE49-F238E27FC236}">
                <a16:creationId xmlns:a16="http://schemas.microsoft.com/office/drawing/2014/main" id="{62880837-2C43-40E8-9AF6-B862401777E2}"/>
              </a:ext>
            </a:extLst>
          </p:cNvPr>
          <p:cNvSpPr/>
          <p:nvPr/>
        </p:nvSpPr>
        <p:spPr bwMode="auto">
          <a:xfrm>
            <a:off x="862372" y="2074474"/>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Inventory turnover ratio</a:t>
            </a:r>
          </a:p>
        </p:txBody>
      </p:sp>
      <p:sp>
        <p:nvSpPr>
          <p:cNvPr id="127" name="Rounded Rectangle 38">
            <a:extLst>
              <a:ext uri="{FF2B5EF4-FFF2-40B4-BE49-F238E27FC236}">
                <a16:creationId xmlns:a16="http://schemas.microsoft.com/office/drawing/2014/main" id="{9D8C6FBA-53B5-4F81-A74B-1E8F9A7484FB}"/>
              </a:ext>
            </a:extLst>
          </p:cNvPr>
          <p:cNvSpPr/>
          <p:nvPr/>
        </p:nvSpPr>
        <p:spPr bwMode="auto">
          <a:xfrm>
            <a:off x="862372" y="2839808"/>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Accounts receivable turnover ratio</a:t>
            </a:r>
          </a:p>
        </p:txBody>
      </p:sp>
      <p:sp>
        <p:nvSpPr>
          <p:cNvPr id="128" name="Rounded Rectangle 42">
            <a:extLst>
              <a:ext uri="{FF2B5EF4-FFF2-40B4-BE49-F238E27FC236}">
                <a16:creationId xmlns:a16="http://schemas.microsoft.com/office/drawing/2014/main" id="{71CE224F-9636-4E50-9853-22A0052BD165}"/>
              </a:ext>
            </a:extLst>
          </p:cNvPr>
          <p:cNvSpPr/>
          <p:nvPr/>
        </p:nvSpPr>
        <p:spPr bwMode="auto">
          <a:xfrm>
            <a:off x="862372" y="3605142"/>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Accounts payable turnover ratio</a:t>
            </a:r>
          </a:p>
        </p:txBody>
      </p:sp>
      <p:sp>
        <p:nvSpPr>
          <p:cNvPr id="129" name="Rounded Rectangle 46">
            <a:extLst>
              <a:ext uri="{FF2B5EF4-FFF2-40B4-BE49-F238E27FC236}">
                <a16:creationId xmlns:a16="http://schemas.microsoft.com/office/drawing/2014/main" id="{706028E1-F1CE-49C0-B366-83E32F82CDC9}"/>
              </a:ext>
            </a:extLst>
          </p:cNvPr>
          <p:cNvSpPr/>
          <p:nvPr/>
        </p:nvSpPr>
        <p:spPr bwMode="auto">
          <a:xfrm>
            <a:off x="862372" y="4361240"/>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Asset turnover ratio</a:t>
            </a:r>
          </a:p>
        </p:txBody>
      </p:sp>
      <p:sp>
        <p:nvSpPr>
          <p:cNvPr id="130" name="Rounded Rectangle 50">
            <a:extLst>
              <a:ext uri="{FF2B5EF4-FFF2-40B4-BE49-F238E27FC236}">
                <a16:creationId xmlns:a16="http://schemas.microsoft.com/office/drawing/2014/main" id="{0176836C-62DF-4238-BF60-E3EC060D49DE}"/>
              </a:ext>
            </a:extLst>
          </p:cNvPr>
          <p:cNvSpPr/>
          <p:nvPr/>
        </p:nvSpPr>
        <p:spPr bwMode="auto">
          <a:xfrm>
            <a:off x="862372" y="5098864"/>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Fixed asset turnover ratio</a:t>
            </a:r>
          </a:p>
        </p:txBody>
      </p:sp>
      <p:sp>
        <p:nvSpPr>
          <p:cNvPr id="143" name="Rounded Rectangle 50">
            <a:extLst>
              <a:ext uri="{FF2B5EF4-FFF2-40B4-BE49-F238E27FC236}">
                <a16:creationId xmlns:a16="http://schemas.microsoft.com/office/drawing/2014/main" id="{32F0C566-7725-4726-AD23-227F464F6A3A}"/>
              </a:ext>
            </a:extLst>
          </p:cNvPr>
          <p:cNvSpPr/>
          <p:nvPr/>
        </p:nvSpPr>
        <p:spPr bwMode="auto">
          <a:xfrm>
            <a:off x="862372" y="5861171"/>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Working capital turnover ratio</a:t>
            </a: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ummary of our financial statement analysis</a:t>
            </a:r>
            <a:br>
              <a:rPr lang="en-US" sz="2400" dirty="0"/>
            </a:br>
            <a:r>
              <a:rPr lang="en-US" sz="2400" b="0" dirty="0"/>
              <a:t>Efficiency ratio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21</a:t>
            </a:fld>
            <a:endParaRPr lang="en-US" dirty="0">
              <a:solidFill>
                <a:srgbClr val="ADAFBB"/>
              </a:solidFill>
            </a:endParaRPr>
          </a:p>
        </p:txBody>
      </p:sp>
      <p:sp>
        <p:nvSpPr>
          <p:cNvPr id="60" name="Oval 59">
            <a:extLst>
              <a:ext uri="{FF2B5EF4-FFF2-40B4-BE49-F238E27FC236}">
                <a16:creationId xmlns:a16="http://schemas.microsoft.com/office/drawing/2014/main" id="{D7FE79AC-8102-42A4-85B2-BA3C025F66A2}"/>
              </a:ext>
            </a:extLst>
          </p:cNvPr>
          <p:cNvSpPr/>
          <p:nvPr/>
        </p:nvSpPr>
        <p:spPr bwMode="auto">
          <a:xfrm>
            <a:off x="10243766" y="361285"/>
            <a:ext cx="27432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1" name="TextBox 60">
            <a:extLst>
              <a:ext uri="{FF2B5EF4-FFF2-40B4-BE49-F238E27FC236}">
                <a16:creationId xmlns:a16="http://schemas.microsoft.com/office/drawing/2014/main" id="{CFCE2A13-3281-42F0-9E3D-DCF6B6A3BA07}"/>
              </a:ext>
            </a:extLst>
          </p:cNvPr>
          <p:cNvSpPr txBox="1"/>
          <p:nvPr/>
        </p:nvSpPr>
        <p:spPr>
          <a:xfrm>
            <a:off x="10155390" y="364996"/>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X</a:t>
            </a:r>
          </a:p>
        </p:txBody>
      </p:sp>
      <p:sp>
        <p:nvSpPr>
          <p:cNvPr id="62" name="Oval 61">
            <a:extLst>
              <a:ext uri="{FF2B5EF4-FFF2-40B4-BE49-F238E27FC236}">
                <a16:creationId xmlns:a16="http://schemas.microsoft.com/office/drawing/2014/main" id="{B24BB676-FDCB-46DE-A580-B04F9193D736}"/>
              </a:ext>
            </a:extLst>
          </p:cNvPr>
          <p:cNvSpPr/>
          <p:nvPr/>
        </p:nvSpPr>
        <p:spPr bwMode="auto">
          <a:xfrm>
            <a:off x="10242590" y="734911"/>
            <a:ext cx="27432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3" name="TextBox 62">
            <a:extLst>
              <a:ext uri="{FF2B5EF4-FFF2-40B4-BE49-F238E27FC236}">
                <a16:creationId xmlns:a16="http://schemas.microsoft.com/office/drawing/2014/main" id="{BE93EF03-424F-4C8C-8E9B-3B7101B0632F}"/>
              </a:ext>
            </a:extLst>
          </p:cNvPr>
          <p:cNvSpPr txBox="1"/>
          <p:nvPr/>
        </p:nvSpPr>
        <p:spPr>
          <a:xfrm>
            <a:off x="10155390" y="738622"/>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Y</a:t>
            </a:r>
          </a:p>
        </p:txBody>
      </p:sp>
      <p:sp>
        <p:nvSpPr>
          <p:cNvPr id="64" name="Oval 63">
            <a:extLst>
              <a:ext uri="{FF2B5EF4-FFF2-40B4-BE49-F238E27FC236}">
                <a16:creationId xmlns:a16="http://schemas.microsoft.com/office/drawing/2014/main" id="{98FCC64D-DC7C-493D-9174-F3D4AA26D031}"/>
              </a:ext>
            </a:extLst>
          </p:cNvPr>
          <p:cNvSpPr/>
          <p:nvPr/>
        </p:nvSpPr>
        <p:spPr bwMode="auto">
          <a:xfrm>
            <a:off x="10242590" y="1108537"/>
            <a:ext cx="27432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5" name="TextBox 64">
            <a:extLst>
              <a:ext uri="{FF2B5EF4-FFF2-40B4-BE49-F238E27FC236}">
                <a16:creationId xmlns:a16="http://schemas.microsoft.com/office/drawing/2014/main" id="{2DF91A00-00B2-4F8A-B4CE-AFC2BBD8D28D}"/>
              </a:ext>
            </a:extLst>
          </p:cNvPr>
          <p:cNvSpPr txBox="1"/>
          <p:nvPr/>
        </p:nvSpPr>
        <p:spPr>
          <a:xfrm>
            <a:off x="10155390" y="1112248"/>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Z</a:t>
            </a:r>
          </a:p>
        </p:txBody>
      </p:sp>
      <p:sp>
        <p:nvSpPr>
          <p:cNvPr id="89" name="TextBox 88">
            <a:extLst>
              <a:ext uri="{FF2B5EF4-FFF2-40B4-BE49-F238E27FC236}">
                <a16:creationId xmlns:a16="http://schemas.microsoft.com/office/drawing/2014/main" id="{5293073A-0CB1-404E-A602-3F3B39B206FF}"/>
              </a:ext>
            </a:extLst>
          </p:cNvPr>
          <p:cNvSpPr txBox="1"/>
          <p:nvPr/>
        </p:nvSpPr>
        <p:spPr>
          <a:xfrm>
            <a:off x="2486153" y="1542773"/>
            <a:ext cx="98777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Worst peer</a:t>
            </a:r>
          </a:p>
        </p:txBody>
      </p:sp>
      <p:sp>
        <p:nvSpPr>
          <p:cNvPr id="90" name="TextBox 89">
            <a:extLst>
              <a:ext uri="{FF2B5EF4-FFF2-40B4-BE49-F238E27FC236}">
                <a16:creationId xmlns:a16="http://schemas.microsoft.com/office/drawing/2014/main" id="{02B670F7-7F0D-4044-B54E-60EFA8DE668F}"/>
              </a:ext>
            </a:extLst>
          </p:cNvPr>
          <p:cNvSpPr txBox="1"/>
          <p:nvPr/>
        </p:nvSpPr>
        <p:spPr>
          <a:xfrm>
            <a:off x="10063134" y="1542773"/>
            <a:ext cx="883575"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Best peer</a:t>
            </a:r>
          </a:p>
        </p:txBody>
      </p:sp>
      <p:cxnSp>
        <p:nvCxnSpPr>
          <p:cNvPr id="91" name="Straight Connector 90">
            <a:extLst>
              <a:ext uri="{FF2B5EF4-FFF2-40B4-BE49-F238E27FC236}">
                <a16:creationId xmlns:a16="http://schemas.microsoft.com/office/drawing/2014/main" id="{C6B2FD17-5152-440D-9263-CDF1F0DF1963}"/>
              </a:ext>
            </a:extLst>
          </p:cNvPr>
          <p:cNvCxnSpPr>
            <a:cxnSpLocks/>
          </p:cNvCxnSpPr>
          <p:nvPr/>
        </p:nvCxnSpPr>
        <p:spPr>
          <a:xfrm>
            <a:off x="2865738" y="2384066"/>
            <a:ext cx="7651172" cy="0"/>
          </a:xfrm>
          <a:prstGeom prst="line">
            <a:avLst/>
          </a:prstGeom>
          <a:noFill/>
          <a:ln w="12700" cap="flat" cmpd="sng" algn="ctr">
            <a:solidFill>
              <a:srgbClr val="002776">
                <a:shade val="95000"/>
                <a:satMod val="105000"/>
              </a:srgbClr>
            </a:solidFill>
            <a:prstDash val="dash"/>
          </a:ln>
          <a:effectLst/>
        </p:spPr>
      </p:cxnSp>
      <p:cxnSp>
        <p:nvCxnSpPr>
          <p:cNvPr id="92" name="Straight Connector 91">
            <a:extLst>
              <a:ext uri="{FF2B5EF4-FFF2-40B4-BE49-F238E27FC236}">
                <a16:creationId xmlns:a16="http://schemas.microsoft.com/office/drawing/2014/main" id="{D8834B92-3834-41F6-AE53-ADBD2438017C}"/>
              </a:ext>
            </a:extLst>
          </p:cNvPr>
          <p:cNvCxnSpPr>
            <a:cxnSpLocks/>
          </p:cNvCxnSpPr>
          <p:nvPr/>
        </p:nvCxnSpPr>
        <p:spPr>
          <a:xfrm>
            <a:off x="2865738" y="3159689"/>
            <a:ext cx="7651172" cy="0"/>
          </a:xfrm>
          <a:prstGeom prst="line">
            <a:avLst/>
          </a:prstGeom>
          <a:noFill/>
          <a:ln w="12700" cap="flat" cmpd="sng" algn="ctr">
            <a:solidFill>
              <a:srgbClr val="002776">
                <a:shade val="95000"/>
                <a:satMod val="105000"/>
              </a:srgbClr>
            </a:solidFill>
            <a:prstDash val="dash"/>
          </a:ln>
          <a:effectLst/>
        </p:spPr>
      </p:cxnSp>
      <p:cxnSp>
        <p:nvCxnSpPr>
          <p:cNvPr id="93" name="Straight Connector 92">
            <a:extLst>
              <a:ext uri="{FF2B5EF4-FFF2-40B4-BE49-F238E27FC236}">
                <a16:creationId xmlns:a16="http://schemas.microsoft.com/office/drawing/2014/main" id="{D64383E5-7894-4068-B541-9FBE2E3C1901}"/>
              </a:ext>
            </a:extLst>
          </p:cNvPr>
          <p:cNvCxnSpPr>
            <a:cxnSpLocks/>
          </p:cNvCxnSpPr>
          <p:nvPr/>
        </p:nvCxnSpPr>
        <p:spPr>
          <a:xfrm>
            <a:off x="2865738" y="3935312"/>
            <a:ext cx="7651172" cy="0"/>
          </a:xfrm>
          <a:prstGeom prst="line">
            <a:avLst/>
          </a:prstGeom>
          <a:noFill/>
          <a:ln w="12700" cap="flat" cmpd="sng" algn="ctr">
            <a:solidFill>
              <a:srgbClr val="002776">
                <a:shade val="95000"/>
                <a:satMod val="105000"/>
              </a:srgbClr>
            </a:solidFill>
            <a:prstDash val="dash"/>
          </a:ln>
          <a:effectLst/>
        </p:spPr>
      </p:cxnSp>
      <p:cxnSp>
        <p:nvCxnSpPr>
          <p:cNvPr id="94" name="Straight Connector 93">
            <a:extLst>
              <a:ext uri="{FF2B5EF4-FFF2-40B4-BE49-F238E27FC236}">
                <a16:creationId xmlns:a16="http://schemas.microsoft.com/office/drawing/2014/main" id="{303D6ABA-D966-49AC-86D8-C36DDE18981F}"/>
              </a:ext>
            </a:extLst>
          </p:cNvPr>
          <p:cNvCxnSpPr>
            <a:cxnSpLocks/>
          </p:cNvCxnSpPr>
          <p:nvPr/>
        </p:nvCxnSpPr>
        <p:spPr>
          <a:xfrm>
            <a:off x="2865738" y="4701699"/>
            <a:ext cx="7651172" cy="0"/>
          </a:xfrm>
          <a:prstGeom prst="line">
            <a:avLst/>
          </a:prstGeom>
          <a:noFill/>
          <a:ln w="12700" cap="flat" cmpd="sng" algn="ctr">
            <a:solidFill>
              <a:srgbClr val="002776">
                <a:shade val="95000"/>
                <a:satMod val="105000"/>
              </a:srgbClr>
            </a:solidFill>
            <a:prstDash val="dash"/>
          </a:ln>
          <a:effectLst/>
        </p:spPr>
      </p:cxnSp>
      <p:cxnSp>
        <p:nvCxnSpPr>
          <p:cNvPr id="95" name="Straight Connector 94">
            <a:extLst>
              <a:ext uri="{FF2B5EF4-FFF2-40B4-BE49-F238E27FC236}">
                <a16:creationId xmlns:a16="http://schemas.microsoft.com/office/drawing/2014/main" id="{6690E34B-0B6B-4989-AF85-209849AF3AEA}"/>
              </a:ext>
            </a:extLst>
          </p:cNvPr>
          <p:cNvCxnSpPr>
            <a:cxnSpLocks/>
          </p:cNvCxnSpPr>
          <p:nvPr/>
        </p:nvCxnSpPr>
        <p:spPr>
          <a:xfrm>
            <a:off x="2865738" y="5448821"/>
            <a:ext cx="7651172" cy="0"/>
          </a:xfrm>
          <a:prstGeom prst="line">
            <a:avLst/>
          </a:prstGeom>
          <a:noFill/>
          <a:ln w="12700" cap="flat" cmpd="sng" algn="ctr">
            <a:solidFill>
              <a:srgbClr val="002776">
                <a:shade val="95000"/>
                <a:satMod val="105000"/>
              </a:srgbClr>
            </a:solidFill>
            <a:prstDash val="dash"/>
          </a:ln>
          <a:effectLst/>
        </p:spPr>
      </p:cxnSp>
      <p:sp>
        <p:nvSpPr>
          <p:cNvPr id="96" name="Oval 95">
            <a:extLst>
              <a:ext uri="{FF2B5EF4-FFF2-40B4-BE49-F238E27FC236}">
                <a16:creationId xmlns:a16="http://schemas.microsoft.com/office/drawing/2014/main" id="{C6176997-2C40-4461-B178-9AF06DC7F40E}"/>
              </a:ext>
            </a:extLst>
          </p:cNvPr>
          <p:cNvSpPr/>
          <p:nvPr/>
        </p:nvSpPr>
        <p:spPr bwMode="auto">
          <a:xfrm>
            <a:off x="4290038" y="2246906"/>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7" name="Oval 96">
            <a:extLst>
              <a:ext uri="{FF2B5EF4-FFF2-40B4-BE49-F238E27FC236}">
                <a16:creationId xmlns:a16="http://schemas.microsoft.com/office/drawing/2014/main" id="{352340E1-6DBB-4431-AD46-6802F240351C}"/>
              </a:ext>
            </a:extLst>
          </p:cNvPr>
          <p:cNvSpPr/>
          <p:nvPr/>
        </p:nvSpPr>
        <p:spPr bwMode="auto">
          <a:xfrm>
            <a:off x="7209656" y="2246906"/>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8" name="Oval 97">
            <a:extLst>
              <a:ext uri="{FF2B5EF4-FFF2-40B4-BE49-F238E27FC236}">
                <a16:creationId xmlns:a16="http://schemas.microsoft.com/office/drawing/2014/main" id="{F9679BBD-0063-4328-9918-EBF953F9AB7A}"/>
              </a:ext>
            </a:extLst>
          </p:cNvPr>
          <p:cNvSpPr/>
          <p:nvPr/>
        </p:nvSpPr>
        <p:spPr bwMode="auto">
          <a:xfrm>
            <a:off x="9055753" y="2246906"/>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9" name="Oval 98">
            <a:extLst>
              <a:ext uri="{FF2B5EF4-FFF2-40B4-BE49-F238E27FC236}">
                <a16:creationId xmlns:a16="http://schemas.microsoft.com/office/drawing/2014/main" id="{2DB93F9E-B1C9-4A41-8709-419FF2D61EF5}"/>
              </a:ext>
            </a:extLst>
          </p:cNvPr>
          <p:cNvSpPr/>
          <p:nvPr/>
        </p:nvSpPr>
        <p:spPr bwMode="auto">
          <a:xfrm>
            <a:off x="4227147" y="3798152"/>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0" name="Oval 99">
            <a:extLst>
              <a:ext uri="{FF2B5EF4-FFF2-40B4-BE49-F238E27FC236}">
                <a16:creationId xmlns:a16="http://schemas.microsoft.com/office/drawing/2014/main" id="{223CD049-E8E0-4E33-884D-DE91B1F5B885}"/>
              </a:ext>
            </a:extLst>
          </p:cNvPr>
          <p:cNvSpPr/>
          <p:nvPr/>
        </p:nvSpPr>
        <p:spPr bwMode="auto">
          <a:xfrm>
            <a:off x="7148321" y="3798152"/>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1" name="Oval 100">
            <a:extLst>
              <a:ext uri="{FF2B5EF4-FFF2-40B4-BE49-F238E27FC236}">
                <a16:creationId xmlns:a16="http://schemas.microsoft.com/office/drawing/2014/main" id="{F5340496-77D2-489A-9CC9-A683CD7AEB5C}"/>
              </a:ext>
            </a:extLst>
          </p:cNvPr>
          <p:cNvSpPr/>
          <p:nvPr/>
        </p:nvSpPr>
        <p:spPr bwMode="auto">
          <a:xfrm>
            <a:off x="3676191" y="4564539"/>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2" name="Oval 101">
            <a:extLst>
              <a:ext uri="{FF2B5EF4-FFF2-40B4-BE49-F238E27FC236}">
                <a16:creationId xmlns:a16="http://schemas.microsoft.com/office/drawing/2014/main" id="{FEA49C4B-4355-421C-A290-1E1A9F96E757}"/>
              </a:ext>
            </a:extLst>
          </p:cNvPr>
          <p:cNvSpPr/>
          <p:nvPr/>
        </p:nvSpPr>
        <p:spPr bwMode="auto">
          <a:xfrm>
            <a:off x="6869916" y="3022529"/>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3" name="Oval 102">
            <a:extLst>
              <a:ext uri="{FF2B5EF4-FFF2-40B4-BE49-F238E27FC236}">
                <a16:creationId xmlns:a16="http://schemas.microsoft.com/office/drawing/2014/main" id="{5071BEF8-ADB4-47BA-9936-292982348B44}"/>
              </a:ext>
            </a:extLst>
          </p:cNvPr>
          <p:cNvSpPr/>
          <p:nvPr/>
        </p:nvSpPr>
        <p:spPr bwMode="auto">
          <a:xfrm>
            <a:off x="8493312" y="3022529"/>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4" name="Oval 103">
            <a:extLst>
              <a:ext uri="{FF2B5EF4-FFF2-40B4-BE49-F238E27FC236}">
                <a16:creationId xmlns:a16="http://schemas.microsoft.com/office/drawing/2014/main" id="{2ABE6662-C4E5-435A-9FBA-A82576213985}"/>
              </a:ext>
            </a:extLst>
          </p:cNvPr>
          <p:cNvSpPr/>
          <p:nvPr/>
        </p:nvSpPr>
        <p:spPr bwMode="auto">
          <a:xfrm>
            <a:off x="5559523" y="3022529"/>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5" name="Oval 104">
            <a:extLst>
              <a:ext uri="{FF2B5EF4-FFF2-40B4-BE49-F238E27FC236}">
                <a16:creationId xmlns:a16="http://schemas.microsoft.com/office/drawing/2014/main" id="{42787DF1-FF33-4A37-BB01-6DF7C908619A}"/>
              </a:ext>
            </a:extLst>
          </p:cNvPr>
          <p:cNvSpPr/>
          <p:nvPr/>
        </p:nvSpPr>
        <p:spPr bwMode="auto">
          <a:xfrm>
            <a:off x="5560061" y="3798152"/>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6" name="Oval 105">
            <a:extLst>
              <a:ext uri="{FF2B5EF4-FFF2-40B4-BE49-F238E27FC236}">
                <a16:creationId xmlns:a16="http://schemas.microsoft.com/office/drawing/2014/main" id="{E4572C8A-77D0-479D-B571-A8FCA205A5DE}"/>
              </a:ext>
            </a:extLst>
          </p:cNvPr>
          <p:cNvSpPr/>
          <p:nvPr/>
        </p:nvSpPr>
        <p:spPr bwMode="auto">
          <a:xfrm>
            <a:off x="7148321" y="4564539"/>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7" name="Oval 106">
            <a:extLst>
              <a:ext uri="{FF2B5EF4-FFF2-40B4-BE49-F238E27FC236}">
                <a16:creationId xmlns:a16="http://schemas.microsoft.com/office/drawing/2014/main" id="{3A1AC3E7-76BA-4201-BBA6-AFD3EC34233A}"/>
              </a:ext>
            </a:extLst>
          </p:cNvPr>
          <p:cNvSpPr/>
          <p:nvPr/>
        </p:nvSpPr>
        <p:spPr bwMode="auto">
          <a:xfrm>
            <a:off x="5560061" y="4564539"/>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8" name="Oval 107">
            <a:extLst>
              <a:ext uri="{FF2B5EF4-FFF2-40B4-BE49-F238E27FC236}">
                <a16:creationId xmlns:a16="http://schemas.microsoft.com/office/drawing/2014/main" id="{D3B3728B-1385-4E51-9BEC-BBF7223B0AEC}"/>
              </a:ext>
            </a:extLst>
          </p:cNvPr>
          <p:cNvSpPr/>
          <p:nvPr/>
        </p:nvSpPr>
        <p:spPr bwMode="auto">
          <a:xfrm>
            <a:off x="8612762" y="5311661"/>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9" name="Oval 108">
            <a:extLst>
              <a:ext uri="{FF2B5EF4-FFF2-40B4-BE49-F238E27FC236}">
                <a16:creationId xmlns:a16="http://schemas.microsoft.com/office/drawing/2014/main" id="{89EB07F8-0F20-43FF-9102-72A68DBDBFAA}"/>
              </a:ext>
            </a:extLst>
          </p:cNvPr>
          <p:cNvSpPr/>
          <p:nvPr/>
        </p:nvSpPr>
        <p:spPr bwMode="auto">
          <a:xfrm>
            <a:off x="3676191" y="5311661"/>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10" name="Oval 109">
            <a:extLst>
              <a:ext uri="{FF2B5EF4-FFF2-40B4-BE49-F238E27FC236}">
                <a16:creationId xmlns:a16="http://schemas.microsoft.com/office/drawing/2014/main" id="{2B8FC0A1-1AEE-4B61-A4FC-9668CB419C6A}"/>
              </a:ext>
            </a:extLst>
          </p:cNvPr>
          <p:cNvSpPr/>
          <p:nvPr/>
        </p:nvSpPr>
        <p:spPr bwMode="auto">
          <a:xfrm>
            <a:off x="6869916" y="5311661"/>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11" name="TextBox 110">
            <a:extLst>
              <a:ext uri="{FF2B5EF4-FFF2-40B4-BE49-F238E27FC236}">
                <a16:creationId xmlns:a16="http://schemas.microsoft.com/office/drawing/2014/main" id="{8D24E98D-6ECF-4046-8BAF-FAA13A8FF0AD}"/>
              </a:ext>
            </a:extLst>
          </p:cNvPr>
          <p:cNvSpPr txBox="1"/>
          <p:nvPr/>
        </p:nvSpPr>
        <p:spPr>
          <a:xfrm>
            <a:off x="3860819" y="190542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2" name="TextBox 111">
            <a:extLst>
              <a:ext uri="{FF2B5EF4-FFF2-40B4-BE49-F238E27FC236}">
                <a16:creationId xmlns:a16="http://schemas.microsoft.com/office/drawing/2014/main" id="{98F05424-B13F-4BDB-835C-583ED534D4D4}"/>
              </a:ext>
            </a:extLst>
          </p:cNvPr>
          <p:cNvSpPr txBox="1"/>
          <p:nvPr/>
        </p:nvSpPr>
        <p:spPr>
          <a:xfrm>
            <a:off x="6780436" y="190542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3" name="TextBox 112">
            <a:extLst>
              <a:ext uri="{FF2B5EF4-FFF2-40B4-BE49-F238E27FC236}">
                <a16:creationId xmlns:a16="http://schemas.microsoft.com/office/drawing/2014/main" id="{5026139C-13A7-44CE-B088-B8A20F0DB682}"/>
              </a:ext>
            </a:extLst>
          </p:cNvPr>
          <p:cNvSpPr txBox="1"/>
          <p:nvPr/>
        </p:nvSpPr>
        <p:spPr>
          <a:xfrm>
            <a:off x="8626533" y="190542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4" name="TextBox 113">
            <a:extLst>
              <a:ext uri="{FF2B5EF4-FFF2-40B4-BE49-F238E27FC236}">
                <a16:creationId xmlns:a16="http://schemas.microsoft.com/office/drawing/2014/main" id="{B3D9AAC7-8BE5-4992-B78F-5D017C1F9202}"/>
              </a:ext>
            </a:extLst>
          </p:cNvPr>
          <p:cNvSpPr txBox="1"/>
          <p:nvPr/>
        </p:nvSpPr>
        <p:spPr>
          <a:xfrm>
            <a:off x="5148843" y="2720048"/>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5" name="TextBox 114">
            <a:extLst>
              <a:ext uri="{FF2B5EF4-FFF2-40B4-BE49-F238E27FC236}">
                <a16:creationId xmlns:a16="http://schemas.microsoft.com/office/drawing/2014/main" id="{4204758A-081B-4AE9-9257-5D7CBC03365E}"/>
              </a:ext>
            </a:extLst>
          </p:cNvPr>
          <p:cNvSpPr txBox="1"/>
          <p:nvPr/>
        </p:nvSpPr>
        <p:spPr>
          <a:xfrm>
            <a:off x="6416642" y="2720048"/>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6" name="TextBox 115">
            <a:extLst>
              <a:ext uri="{FF2B5EF4-FFF2-40B4-BE49-F238E27FC236}">
                <a16:creationId xmlns:a16="http://schemas.microsoft.com/office/drawing/2014/main" id="{AA2F3C75-5182-463C-BA75-F2C7B7BEB22F}"/>
              </a:ext>
            </a:extLst>
          </p:cNvPr>
          <p:cNvSpPr txBox="1"/>
          <p:nvPr/>
        </p:nvSpPr>
        <p:spPr>
          <a:xfrm>
            <a:off x="8085759" y="2720048"/>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7" name="TextBox 116">
            <a:extLst>
              <a:ext uri="{FF2B5EF4-FFF2-40B4-BE49-F238E27FC236}">
                <a16:creationId xmlns:a16="http://schemas.microsoft.com/office/drawing/2014/main" id="{FF1EE458-03D0-4B0E-9758-8DB61B60B3B7}"/>
              </a:ext>
            </a:extLst>
          </p:cNvPr>
          <p:cNvSpPr txBox="1"/>
          <p:nvPr/>
        </p:nvSpPr>
        <p:spPr>
          <a:xfrm>
            <a:off x="5148843" y="348436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8" name="TextBox 117">
            <a:extLst>
              <a:ext uri="{FF2B5EF4-FFF2-40B4-BE49-F238E27FC236}">
                <a16:creationId xmlns:a16="http://schemas.microsoft.com/office/drawing/2014/main" id="{528607E0-9375-4ED8-B65A-3F9BE7B1B233}"/>
              </a:ext>
            </a:extLst>
          </p:cNvPr>
          <p:cNvSpPr txBox="1"/>
          <p:nvPr/>
        </p:nvSpPr>
        <p:spPr>
          <a:xfrm>
            <a:off x="3795366" y="348436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9" name="TextBox 118">
            <a:extLst>
              <a:ext uri="{FF2B5EF4-FFF2-40B4-BE49-F238E27FC236}">
                <a16:creationId xmlns:a16="http://schemas.microsoft.com/office/drawing/2014/main" id="{E83E37CE-34FB-4D9F-8A52-D60686053F2A}"/>
              </a:ext>
            </a:extLst>
          </p:cNvPr>
          <p:cNvSpPr txBox="1"/>
          <p:nvPr/>
        </p:nvSpPr>
        <p:spPr>
          <a:xfrm>
            <a:off x="6720462" y="348436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0" name="TextBox 119">
            <a:extLst>
              <a:ext uri="{FF2B5EF4-FFF2-40B4-BE49-F238E27FC236}">
                <a16:creationId xmlns:a16="http://schemas.microsoft.com/office/drawing/2014/main" id="{1AC3F6D1-53AA-4932-8CE5-4062DC55CC05}"/>
              </a:ext>
            </a:extLst>
          </p:cNvPr>
          <p:cNvSpPr txBox="1"/>
          <p:nvPr/>
        </p:nvSpPr>
        <p:spPr>
          <a:xfrm>
            <a:off x="5148843" y="4239436"/>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1" name="TextBox 120">
            <a:extLst>
              <a:ext uri="{FF2B5EF4-FFF2-40B4-BE49-F238E27FC236}">
                <a16:creationId xmlns:a16="http://schemas.microsoft.com/office/drawing/2014/main" id="{418421F0-20E9-4344-B118-A0E261E35CB0}"/>
              </a:ext>
            </a:extLst>
          </p:cNvPr>
          <p:cNvSpPr txBox="1"/>
          <p:nvPr/>
        </p:nvSpPr>
        <p:spPr>
          <a:xfrm>
            <a:off x="3284088" y="4239436"/>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2" name="TextBox 121">
            <a:extLst>
              <a:ext uri="{FF2B5EF4-FFF2-40B4-BE49-F238E27FC236}">
                <a16:creationId xmlns:a16="http://schemas.microsoft.com/office/drawing/2014/main" id="{549B8614-70B8-42E1-8719-39E21E31475E}"/>
              </a:ext>
            </a:extLst>
          </p:cNvPr>
          <p:cNvSpPr txBox="1"/>
          <p:nvPr/>
        </p:nvSpPr>
        <p:spPr>
          <a:xfrm>
            <a:off x="6720462" y="4239436"/>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3" name="TextBox 122">
            <a:extLst>
              <a:ext uri="{FF2B5EF4-FFF2-40B4-BE49-F238E27FC236}">
                <a16:creationId xmlns:a16="http://schemas.microsoft.com/office/drawing/2014/main" id="{0172EE7A-8B95-47EE-ADE6-9950FDDDBD6D}"/>
              </a:ext>
            </a:extLst>
          </p:cNvPr>
          <p:cNvSpPr txBox="1"/>
          <p:nvPr/>
        </p:nvSpPr>
        <p:spPr>
          <a:xfrm>
            <a:off x="6446701" y="497604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4" name="TextBox 123">
            <a:extLst>
              <a:ext uri="{FF2B5EF4-FFF2-40B4-BE49-F238E27FC236}">
                <a16:creationId xmlns:a16="http://schemas.microsoft.com/office/drawing/2014/main" id="{8BC50B2F-FFD8-414B-824C-AA5DBBA53B5C}"/>
              </a:ext>
            </a:extLst>
          </p:cNvPr>
          <p:cNvSpPr txBox="1"/>
          <p:nvPr/>
        </p:nvSpPr>
        <p:spPr>
          <a:xfrm>
            <a:off x="3284088" y="497604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5" name="TextBox 124">
            <a:extLst>
              <a:ext uri="{FF2B5EF4-FFF2-40B4-BE49-F238E27FC236}">
                <a16:creationId xmlns:a16="http://schemas.microsoft.com/office/drawing/2014/main" id="{351FEB5A-210C-40B5-90B7-52DADD38FA94}"/>
              </a:ext>
            </a:extLst>
          </p:cNvPr>
          <p:cNvSpPr txBox="1"/>
          <p:nvPr/>
        </p:nvSpPr>
        <p:spPr>
          <a:xfrm>
            <a:off x="8175636" y="497604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cxnSp>
        <p:nvCxnSpPr>
          <p:cNvPr id="131" name="Straight Connector 130">
            <a:extLst>
              <a:ext uri="{FF2B5EF4-FFF2-40B4-BE49-F238E27FC236}">
                <a16:creationId xmlns:a16="http://schemas.microsoft.com/office/drawing/2014/main" id="{9AB62E3C-1F85-4163-80A0-39F04C13B8AA}"/>
              </a:ext>
            </a:extLst>
          </p:cNvPr>
          <p:cNvCxnSpPr>
            <a:cxnSpLocks/>
          </p:cNvCxnSpPr>
          <p:nvPr/>
        </p:nvCxnSpPr>
        <p:spPr>
          <a:xfrm>
            <a:off x="2865738" y="6163564"/>
            <a:ext cx="7651172" cy="0"/>
          </a:xfrm>
          <a:prstGeom prst="line">
            <a:avLst/>
          </a:prstGeom>
          <a:noFill/>
          <a:ln w="12700" cap="flat" cmpd="sng" algn="ctr">
            <a:solidFill>
              <a:srgbClr val="002776">
                <a:shade val="95000"/>
                <a:satMod val="105000"/>
              </a:srgbClr>
            </a:solidFill>
            <a:prstDash val="dash"/>
          </a:ln>
          <a:effectLst/>
        </p:spPr>
      </p:cxnSp>
      <p:sp>
        <p:nvSpPr>
          <p:cNvPr id="132" name="Oval 131">
            <a:extLst>
              <a:ext uri="{FF2B5EF4-FFF2-40B4-BE49-F238E27FC236}">
                <a16:creationId xmlns:a16="http://schemas.microsoft.com/office/drawing/2014/main" id="{FA675A27-F6CB-4472-9130-74A850F86790}"/>
              </a:ext>
            </a:extLst>
          </p:cNvPr>
          <p:cNvSpPr/>
          <p:nvPr/>
        </p:nvSpPr>
        <p:spPr bwMode="auto">
          <a:xfrm>
            <a:off x="8612762" y="6026404"/>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33" name="Oval 132">
            <a:extLst>
              <a:ext uri="{FF2B5EF4-FFF2-40B4-BE49-F238E27FC236}">
                <a16:creationId xmlns:a16="http://schemas.microsoft.com/office/drawing/2014/main" id="{B6DB05D4-35C0-4881-B68A-A3DE2E0B5B54}"/>
              </a:ext>
            </a:extLst>
          </p:cNvPr>
          <p:cNvSpPr/>
          <p:nvPr/>
        </p:nvSpPr>
        <p:spPr bwMode="auto">
          <a:xfrm>
            <a:off x="3676191" y="6026404"/>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34" name="Oval 133">
            <a:extLst>
              <a:ext uri="{FF2B5EF4-FFF2-40B4-BE49-F238E27FC236}">
                <a16:creationId xmlns:a16="http://schemas.microsoft.com/office/drawing/2014/main" id="{811BBF82-427A-4000-AD34-45C29B4C2639}"/>
              </a:ext>
            </a:extLst>
          </p:cNvPr>
          <p:cNvSpPr/>
          <p:nvPr/>
        </p:nvSpPr>
        <p:spPr bwMode="auto">
          <a:xfrm>
            <a:off x="6869916" y="6026404"/>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35" name="TextBox 134">
            <a:extLst>
              <a:ext uri="{FF2B5EF4-FFF2-40B4-BE49-F238E27FC236}">
                <a16:creationId xmlns:a16="http://schemas.microsoft.com/office/drawing/2014/main" id="{8E4A212E-6025-46C2-ACB9-622005CF58FB}"/>
              </a:ext>
            </a:extLst>
          </p:cNvPr>
          <p:cNvSpPr txBox="1"/>
          <p:nvPr/>
        </p:nvSpPr>
        <p:spPr>
          <a:xfrm>
            <a:off x="6446701" y="5690783"/>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36" name="TextBox 135">
            <a:extLst>
              <a:ext uri="{FF2B5EF4-FFF2-40B4-BE49-F238E27FC236}">
                <a16:creationId xmlns:a16="http://schemas.microsoft.com/office/drawing/2014/main" id="{BCB09BF4-05CF-4703-B02A-841C87373374}"/>
              </a:ext>
            </a:extLst>
          </p:cNvPr>
          <p:cNvSpPr txBox="1"/>
          <p:nvPr/>
        </p:nvSpPr>
        <p:spPr>
          <a:xfrm>
            <a:off x="3284088" y="5690783"/>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37" name="TextBox 136">
            <a:extLst>
              <a:ext uri="{FF2B5EF4-FFF2-40B4-BE49-F238E27FC236}">
                <a16:creationId xmlns:a16="http://schemas.microsoft.com/office/drawing/2014/main" id="{E2727E88-9C6C-4623-BBC9-E73EBCAA528A}"/>
              </a:ext>
            </a:extLst>
          </p:cNvPr>
          <p:cNvSpPr txBox="1"/>
          <p:nvPr/>
        </p:nvSpPr>
        <p:spPr>
          <a:xfrm>
            <a:off x="8175636" y="5690783"/>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Tree>
    <p:extLst>
      <p:ext uri="{BB962C8B-B14F-4D97-AF65-F5344CB8AC3E}">
        <p14:creationId xmlns:p14="http://schemas.microsoft.com/office/powerpoint/2010/main" val="28264356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ounded Rectangle 33">
            <a:extLst>
              <a:ext uri="{FF2B5EF4-FFF2-40B4-BE49-F238E27FC236}">
                <a16:creationId xmlns:a16="http://schemas.microsoft.com/office/drawing/2014/main" id="{62880837-2C43-40E8-9AF6-B862401777E2}"/>
              </a:ext>
            </a:extLst>
          </p:cNvPr>
          <p:cNvSpPr/>
          <p:nvPr/>
        </p:nvSpPr>
        <p:spPr bwMode="auto">
          <a:xfrm>
            <a:off x="862372" y="2388509"/>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Debt to equity ratio</a:t>
            </a:r>
          </a:p>
        </p:txBody>
      </p:sp>
      <p:sp>
        <p:nvSpPr>
          <p:cNvPr id="127" name="Rounded Rectangle 38">
            <a:extLst>
              <a:ext uri="{FF2B5EF4-FFF2-40B4-BE49-F238E27FC236}">
                <a16:creationId xmlns:a16="http://schemas.microsoft.com/office/drawing/2014/main" id="{9D8C6FBA-53B5-4F81-A74B-1E8F9A7484FB}"/>
              </a:ext>
            </a:extLst>
          </p:cNvPr>
          <p:cNvSpPr/>
          <p:nvPr/>
        </p:nvSpPr>
        <p:spPr bwMode="auto">
          <a:xfrm>
            <a:off x="862372" y="3153843"/>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Debt ratio</a:t>
            </a:r>
          </a:p>
        </p:txBody>
      </p:sp>
      <p:sp>
        <p:nvSpPr>
          <p:cNvPr id="128" name="Rounded Rectangle 42">
            <a:extLst>
              <a:ext uri="{FF2B5EF4-FFF2-40B4-BE49-F238E27FC236}">
                <a16:creationId xmlns:a16="http://schemas.microsoft.com/office/drawing/2014/main" id="{71CE224F-9636-4E50-9853-22A0052BD165}"/>
              </a:ext>
            </a:extLst>
          </p:cNvPr>
          <p:cNvSpPr/>
          <p:nvPr/>
        </p:nvSpPr>
        <p:spPr bwMode="auto">
          <a:xfrm>
            <a:off x="862372" y="3919177"/>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Times interest earned (TIE) ratio</a:t>
            </a:r>
          </a:p>
        </p:txBody>
      </p:sp>
      <p:sp>
        <p:nvSpPr>
          <p:cNvPr id="129" name="Rounded Rectangle 46">
            <a:extLst>
              <a:ext uri="{FF2B5EF4-FFF2-40B4-BE49-F238E27FC236}">
                <a16:creationId xmlns:a16="http://schemas.microsoft.com/office/drawing/2014/main" id="{706028E1-F1CE-49C0-B366-83E32F82CDC9}"/>
              </a:ext>
            </a:extLst>
          </p:cNvPr>
          <p:cNvSpPr/>
          <p:nvPr/>
        </p:nvSpPr>
        <p:spPr bwMode="auto">
          <a:xfrm>
            <a:off x="862372" y="4675275"/>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Cash ratio</a:t>
            </a:r>
          </a:p>
        </p:txBody>
      </p:sp>
      <p:sp>
        <p:nvSpPr>
          <p:cNvPr id="130" name="Rounded Rectangle 50">
            <a:extLst>
              <a:ext uri="{FF2B5EF4-FFF2-40B4-BE49-F238E27FC236}">
                <a16:creationId xmlns:a16="http://schemas.microsoft.com/office/drawing/2014/main" id="{0176836C-62DF-4238-BF60-E3EC060D49DE}"/>
              </a:ext>
            </a:extLst>
          </p:cNvPr>
          <p:cNvSpPr/>
          <p:nvPr/>
        </p:nvSpPr>
        <p:spPr bwMode="auto">
          <a:xfrm>
            <a:off x="862372" y="5412899"/>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Quick ratio</a:t>
            </a: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ummary of our financial statement analysis</a:t>
            </a:r>
            <a:br>
              <a:rPr lang="en-US" sz="2400" dirty="0"/>
            </a:br>
            <a:r>
              <a:rPr lang="en-US" sz="2400" b="0" dirty="0"/>
              <a:t>Solvency ratio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22</a:t>
            </a:fld>
            <a:endParaRPr lang="en-US" dirty="0">
              <a:solidFill>
                <a:srgbClr val="ADAFBB"/>
              </a:solidFill>
            </a:endParaRPr>
          </a:p>
        </p:txBody>
      </p:sp>
      <p:sp>
        <p:nvSpPr>
          <p:cNvPr id="60" name="Oval 59">
            <a:extLst>
              <a:ext uri="{FF2B5EF4-FFF2-40B4-BE49-F238E27FC236}">
                <a16:creationId xmlns:a16="http://schemas.microsoft.com/office/drawing/2014/main" id="{D7FE79AC-8102-42A4-85B2-BA3C025F66A2}"/>
              </a:ext>
            </a:extLst>
          </p:cNvPr>
          <p:cNvSpPr/>
          <p:nvPr/>
        </p:nvSpPr>
        <p:spPr bwMode="auto">
          <a:xfrm>
            <a:off x="10243766" y="361285"/>
            <a:ext cx="27432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1" name="TextBox 60">
            <a:extLst>
              <a:ext uri="{FF2B5EF4-FFF2-40B4-BE49-F238E27FC236}">
                <a16:creationId xmlns:a16="http://schemas.microsoft.com/office/drawing/2014/main" id="{CFCE2A13-3281-42F0-9E3D-DCF6B6A3BA07}"/>
              </a:ext>
            </a:extLst>
          </p:cNvPr>
          <p:cNvSpPr txBox="1"/>
          <p:nvPr/>
        </p:nvSpPr>
        <p:spPr>
          <a:xfrm>
            <a:off x="10155390" y="364996"/>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X</a:t>
            </a:r>
          </a:p>
        </p:txBody>
      </p:sp>
      <p:sp>
        <p:nvSpPr>
          <p:cNvPr id="62" name="Oval 61">
            <a:extLst>
              <a:ext uri="{FF2B5EF4-FFF2-40B4-BE49-F238E27FC236}">
                <a16:creationId xmlns:a16="http://schemas.microsoft.com/office/drawing/2014/main" id="{B24BB676-FDCB-46DE-A580-B04F9193D736}"/>
              </a:ext>
            </a:extLst>
          </p:cNvPr>
          <p:cNvSpPr/>
          <p:nvPr/>
        </p:nvSpPr>
        <p:spPr bwMode="auto">
          <a:xfrm>
            <a:off x="10242590" y="734911"/>
            <a:ext cx="27432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3" name="TextBox 62">
            <a:extLst>
              <a:ext uri="{FF2B5EF4-FFF2-40B4-BE49-F238E27FC236}">
                <a16:creationId xmlns:a16="http://schemas.microsoft.com/office/drawing/2014/main" id="{BE93EF03-424F-4C8C-8E9B-3B7101B0632F}"/>
              </a:ext>
            </a:extLst>
          </p:cNvPr>
          <p:cNvSpPr txBox="1"/>
          <p:nvPr/>
        </p:nvSpPr>
        <p:spPr>
          <a:xfrm>
            <a:off x="10155390" y="738622"/>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Y</a:t>
            </a:r>
          </a:p>
        </p:txBody>
      </p:sp>
      <p:sp>
        <p:nvSpPr>
          <p:cNvPr id="64" name="Oval 63">
            <a:extLst>
              <a:ext uri="{FF2B5EF4-FFF2-40B4-BE49-F238E27FC236}">
                <a16:creationId xmlns:a16="http://schemas.microsoft.com/office/drawing/2014/main" id="{98FCC64D-DC7C-493D-9174-F3D4AA26D031}"/>
              </a:ext>
            </a:extLst>
          </p:cNvPr>
          <p:cNvSpPr/>
          <p:nvPr/>
        </p:nvSpPr>
        <p:spPr bwMode="auto">
          <a:xfrm>
            <a:off x="10242590" y="1108537"/>
            <a:ext cx="27432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5" name="TextBox 64">
            <a:extLst>
              <a:ext uri="{FF2B5EF4-FFF2-40B4-BE49-F238E27FC236}">
                <a16:creationId xmlns:a16="http://schemas.microsoft.com/office/drawing/2014/main" id="{2DF91A00-00B2-4F8A-B4CE-AFC2BBD8D28D}"/>
              </a:ext>
            </a:extLst>
          </p:cNvPr>
          <p:cNvSpPr txBox="1"/>
          <p:nvPr/>
        </p:nvSpPr>
        <p:spPr>
          <a:xfrm>
            <a:off x="10155390" y="1112248"/>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Z</a:t>
            </a:r>
          </a:p>
        </p:txBody>
      </p:sp>
      <p:sp>
        <p:nvSpPr>
          <p:cNvPr id="89" name="TextBox 88">
            <a:extLst>
              <a:ext uri="{FF2B5EF4-FFF2-40B4-BE49-F238E27FC236}">
                <a16:creationId xmlns:a16="http://schemas.microsoft.com/office/drawing/2014/main" id="{5293073A-0CB1-404E-A602-3F3B39B206FF}"/>
              </a:ext>
            </a:extLst>
          </p:cNvPr>
          <p:cNvSpPr txBox="1"/>
          <p:nvPr/>
        </p:nvSpPr>
        <p:spPr>
          <a:xfrm>
            <a:off x="2486153" y="1856808"/>
            <a:ext cx="98777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Worst peer</a:t>
            </a:r>
          </a:p>
        </p:txBody>
      </p:sp>
      <p:sp>
        <p:nvSpPr>
          <p:cNvPr id="90" name="TextBox 89">
            <a:extLst>
              <a:ext uri="{FF2B5EF4-FFF2-40B4-BE49-F238E27FC236}">
                <a16:creationId xmlns:a16="http://schemas.microsoft.com/office/drawing/2014/main" id="{02B670F7-7F0D-4044-B54E-60EFA8DE668F}"/>
              </a:ext>
            </a:extLst>
          </p:cNvPr>
          <p:cNvSpPr txBox="1"/>
          <p:nvPr/>
        </p:nvSpPr>
        <p:spPr>
          <a:xfrm>
            <a:off x="10063134" y="1856808"/>
            <a:ext cx="883575"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Best peer</a:t>
            </a:r>
          </a:p>
        </p:txBody>
      </p:sp>
      <p:cxnSp>
        <p:nvCxnSpPr>
          <p:cNvPr id="91" name="Straight Connector 90">
            <a:extLst>
              <a:ext uri="{FF2B5EF4-FFF2-40B4-BE49-F238E27FC236}">
                <a16:creationId xmlns:a16="http://schemas.microsoft.com/office/drawing/2014/main" id="{C6B2FD17-5152-440D-9263-CDF1F0DF1963}"/>
              </a:ext>
            </a:extLst>
          </p:cNvPr>
          <p:cNvCxnSpPr>
            <a:cxnSpLocks/>
          </p:cNvCxnSpPr>
          <p:nvPr/>
        </p:nvCxnSpPr>
        <p:spPr>
          <a:xfrm>
            <a:off x="2865738" y="2698101"/>
            <a:ext cx="7651172" cy="0"/>
          </a:xfrm>
          <a:prstGeom prst="line">
            <a:avLst/>
          </a:prstGeom>
          <a:noFill/>
          <a:ln w="12700" cap="flat" cmpd="sng" algn="ctr">
            <a:solidFill>
              <a:srgbClr val="002776">
                <a:shade val="95000"/>
                <a:satMod val="105000"/>
              </a:srgbClr>
            </a:solidFill>
            <a:prstDash val="dash"/>
          </a:ln>
          <a:effectLst/>
        </p:spPr>
      </p:cxnSp>
      <p:cxnSp>
        <p:nvCxnSpPr>
          <p:cNvPr id="92" name="Straight Connector 91">
            <a:extLst>
              <a:ext uri="{FF2B5EF4-FFF2-40B4-BE49-F238E27FC236}">
                <a16:creationId xmlns:a16="http://schemas.microsoft.com/office/drawing/2014/main" id="{D8834B92-3834-41F6-AE53-ADBD2438017C}"/>
              </a:ext>
            </a:extLst>
          </p:cNvPr>
          <p:cNvCxnSpPr>
            <a:cxnSpLocks/>
          </p:cNvCxnSpPr>
          <p:nvPr/>
        </p:nvCxnSpPr>
        <p:spPr>
          <a:xfrm>
            <a:off x="2865738" y="3473724"/>
            <a:ext cx="7651172" cy="0"/>
          </a:xfrm>
          <a:prstGeom prst="line">
            <a:avLst/>
          </a:prstGeom>
          <a:noFill/>
          <a:ln w="12700" cap="flat" cmpd="sng" algn="ctr">
            <a:solidFill>
              <a:srgbClr val="002776">
                <a:shade val="95000"/>
                <a:satMod val="105000"/>
              </a:srgbClr>
            </a:solidFill>
            <a:prstDash val="dash"/>
          </a:ln>
          <a:effectLst/>
        </p:spPr>
      </p:cxnSp>
      <p:cxnSp>
        <p:nvCxnSpPr>
          <p:cNvPr id="93" name="Straight Connector 92">
            <a:extLst>
              <a:ext uri="{FF2B5EF4-FFF2-40B4-BE49-F238E27FC236}">
                <a16:creationId xmlns:a16="http://schemas.microsoft.com/office/drawing/2014/main" id="{D64383E5-7894-4068-B541-9FBE2E3C1901}"/>
              </a:ext>
            </a:extLst>
          </p:cNvPr>
          <p:cNvCxnSpPr>
            <a:cxnSpLocks/>
          </p:cNvCxnSpPr>
          <p:nvPr/>
        </p:nvCxnSpPr>
        <p:spPr>
          <a:xfrm>
            <a:off x="2865738" y="4249347"/>
            <a:ext cx="7651172" cy="0"/>
          </a:xfrm>
          <a:prstGeom prst="line">
            <a:avLst/>
          </a:prstGeom>
          <a:noFill/>
          <a:ln w="12700" cap="flat" cmpd="sng" algn="ctr">
            <a:solidFill>
              <a:srgbClr val="002776">
                <a:shade val="95000"/>
                <a:satMod val="105000"/>
              </a:srgbClr>
            </a:solidFill>
            <a:prstDash val="dash"/>
          </a:ln>
          <a:effectLst/>
        </p:spPr>
      </p:cxnSp>
      <p:cxnSp>
        <p:nvCxnSpPr>
          <p:cNvPr id="94" name="Straight Connector 93">
            <a:extLst>
              <a:ext uri="{FF2B5EF4-FFF2-40B4-BE49-F238E27FC236}">
                <a16:creationId xmlns:a16="http://schemas.microsoft.com/office/drawing/2014/main" id="{303D6ABA-D966-49AC-86D8-C36DDE18981F}"/>
              </a:ext>
            </a:extLst>
          </p:cNvPr>
          <p:cNvCxnSpPr>
            <a:cxnSpLocks/>
          </p:cNvCxnSpPr>
          <p:nvPr/>
        </p:nvCxnSpPr>
        <p:spPr>
          <a:xfrm>
            <a:off x="2865738" y="5015734"/>
            <a:ext cx="7651172" cy="0"/>
          </a:xfrm>
          <a:prstGeom prst="line">
            <a:avLst/>
          </a:prstGeom>
          <a:noFill/>
          <a:ln w="12700" cap="flat" cmpd="sng" algn="ctr">
            <a:solidFill>
              <a:srgbClr val="002776">
                <a:shade val="95000"/>
                <a:satMod val="105000"/>
              </a:srgbClr>
            </a:solidFill>
            <a:prstDash val="dash"/>
          </a:ln>
          <a:effectLst/>
        </p:spPr>
      </p:cxnSp>
      <p:cxnSp>
        <p:nvCxnSpPr>
          <p:cNvPr id="95" name="Straight Connector 94">
            <a:extLst>
              <a:ext uri="{FF2B5EF4-FFF2-40B4-BE49-F238E27FC236}">
                <a16:creationId xmlns:a16="http://schemas.microsoft.com/office/drawing/2014/main" id="{6690E34B-0B6B-4989-AF85-209849AF3AEA}"/>
              </a:ext>
            </a:extLst>
          </p:cNvPr>
          <p:cNvCxnSpPr>
            <a:cxnSpLocks/>
          </p:cNvCxnSpPr>
          <p:nvPr/>
        </p:nvCxnSpPr>
        <p:spPr>
          <a:xfrm>
            <a:off x="2865738" y="5762856"/>
            <a:ext cx="7651172" cy="0"/>
          </a:xfrm>
          <a:prstGeom prst="line">
            <a:avLst/>
          </a:prstGeom>
          <a:noFill/>
          <a:ln w="12700" cap="flat" cmpd="sng" algn="ctr">
            <a:solidFill>
              <a:srgbClr val="002776">
                <a:shade val="95000"/>
                <a:satMod val="105000"/>
              </a:srgbClr>
            </a:solidFill>
            <a:prstDash val="dash"/>
          </a:ln>
          <a:effectLst/>
        </p:spPr>
      </p:cxnSp>
      <p:sp>
        <p:nvSpPr>
          <p:cNvPr id="96" name="Oval 95">
            <a:extLst>
              <a:ext uri="{FF2B5EF4-FFF2-40B4-BE49-F238E27FC236}">
                <a16:creationId xmlns:a16="http://schemas.microsoft.com/office/drawing/2014/main" id="{C6176997-2C40-4461-B178-9AF06DC7F40E}"/>
              </a:ext>
            </a:extLst>
          </p:cNvPr>
          <p:cNvSpPr/>
          <p:nvPr/>
        </p:nvSpPr>
        <p:spPr bwMode="auto">
          <a:xfrm>
            <a:off x="4290038" y="2560941"/>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7" name="Oval 96">
            <a:extLst>
              <a:ext uri="{FF2B5EF4-FFF2-40B4-BE49-F238E27FC236}">
                <a16:creationId xmlns:a16="http://schemas.microsoft.com/office/drawing/2014/main" id="{352340E1-6DBB-4431-AD46-6802F240351C}"/>
              </a:ext>
            </a:extLst>
          </p:cNvPr>
          <p:cNvSpPr/>
          <p:nvPr/>
        </p:nvSpPr>
        <p:spPr bwMode="auto">
          <a:xfrm>
            <a:off x="7209656" y="2560941"/>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8" name="Oval 97">
            <a:extLst>
              <a:ext uri="{FF2B5EF4-FFF2-40B4-BE49-F238E27FC236}">
                <a16:creationId xmlns:a16="http://schemas.microsoft.com/office/drawing/2014/main" id="{F9679BBD-0063-4328-9918-EBF953F9AB7A}"/>
              </a:ext>
            </a:extLst>
          </p:cNvPr>
          <p:cNvSpPr/>
          <p:nvPr/>
        </p:nvSpPr>
        <p:spPr bwMode="auto">
          <a:xfrm>
            <a:off x="9055753" y="2560941"/>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9" name="Oval 98">
            <a:extLst>
              <a:ext uri="{FF2B5EF4-FFF2-40B4-BE49-F238E27FC236}">
                <a16:creationId xmlns:a16="http://schemas.microsoft.com/office/drawing/2014/main" id="{2DB93F9E-B1C9-4A41-8709-419FF2D61EF5}"/>
              </a:ext>
            </a:extLst>
          </p:cNvPr>
          <p:cNvSpPr/>
          <p:nvPr/>
        </p:nvSpPr>
        <p:spPr bwMode="auto">
          <a:xfrm>
            <a:off x="4227147" y="4112187"/>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0" name="Oval 99">
            <a:extLst>
              <a:ext uri="{FF2B5EF4-FFF2-40B4-BE49-F238E27FC236}">
                <a16:creationId xmlns:a16="http://schemas.microsoft.com/office/drawing/2014/main" id="{223CD049-E8E0-4E33-884D-DE91B1F5B885}"/>
              </a:ext>
            </a:extLst>
          </p:cNvPr>
          <p:cNvSpPr/>
          <p:nvPr/>
        </p:nvSpPr>
        <p:spPr bwMode="auto">
          <a:xfrm>
            <a:off x="7148321" y="4112187"/>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1" name="Oval 100">
            <a:extLst>
              <a:ext uri="{FF2B5EF4-FFF2-40B4-BE49-F238E27FC236}">
                <a16:creationId xmlns:a16="http://schemas.microsoft.com/office/drawing/2014/main" id="{F5340496-77D2-489A-9CC9-A683CD7AEB5C}"/>
              </a:ext>
            </a:extLst>
          </p:cNvPr>
          <p:cNvSpPr/>
          <p:nvPr/>
        </p:nvSpPr>
        <p:spPr bwMode="auto">
          <a:xfrm>
            <a:off x="3676191" y="4878574"/>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2" name="Oval 101">
            <a:extLst>
              <a:ext uri="{FF2B5EF4-FFF2-40B4-BE49-F238E27FC236}">
                <a16:creationId xmlns:a16="http://schemas.microsoft.com/office/drawing/2014/main" id="{FEA49C4B-4355-421C-A290-1E1A9F96E757}"/>
              </a:ext>
            </a:extLst>
          </p:cNvPr>
          <p:cNvSpPr/>
          <p:nvPr/>
        </p:nvSpPr>
        <p:spPr bwMode="auto">
          <a:xfrm>
            <a:off x="6869916" y="3336564"/>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3" name="Oval 102">
            <a:extLst>
              <a:ext uri="{FF2B5EF4-FFF2-40B4-BE49-F238E27FC236}">
                <a16:creationId xmlns:a16="http://schemas.microsoft.com/office/drawing/2014/main" id="{5071BEF8-ADB4-47BA-9936-292982348B44}"/>
              </a:ext>
            </a:extLst>
          </p:cNvPr>
          <p:cNvSpPr/>
          <p:nvPr/>
        </p:nvSpPr>
        <p:spPr bwMode="auto">
          <a:xfrm>
            <a:off x="8493312" y="3336564"/>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4" name="Oval 103">
            <a:extLst>
              <a:ext uri="{FF2B5EF4-FFF2-40B4-BE49-F238E27FC236}">
                <a16:creationId xmlns:a16="http://schemas.microsoft.com/office/drawing/2014/main" id="{2ABE6662-C4E5-435A-9FBA-A82576213985}"/>
              </a:ext>
            </a:extLst>
          </p:cNvPr>
          <p:cNvSpPr/>
          <p:nvPr/>
        </p:nvSpPr>
        <p:spPr bwMode="auto">
          <a:xfrm>
            <a:off x="5559523" y="3336564"/>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5" name="Oval 104">
            <a:extLst>
              <a:ext uri="{FF2B5EF4-FFF2-40B4-BE49-F238E27FC236}">
                <a16:creationId xmlns:a16="http://schemas.microsoft.com/office/drawing/2014/main" id="{42787DF1-FF33-4A37-BB01-6DF7C908619A}"/>
              </a:ext>
            </a:extLst>
          </p:cNvPr>
          <p:cNvSpPr/>
          <p:nvPr/>
        </p:nvSpPr>
        <p:spPr bwMode="auto">
          <a:xfrm>
            <a:off x="5560061" y="4112187"/>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6" name="Oval 105">
            <a:extLst>
              <a:ext uri="{FF2B5EF4-FFF2-40B4-BE49-F238E27FC236}">
                <a16:creationId xmlns:a16="http://schemas.microsoft.com/office/drawing/2014/main" id="{E4572C8A-77D0-479D-B571-A8FCA205A5DE}"/>
              </a:ext>
            </a:extLst>
          </p:cNvPr>
          <p:cNvSpPr/>
          <p:nvPr/>
        </p:nvSpPr>
        <p:spPr bwMode="auto">
          <a:xfrm>
            <a:off x="7148321" y="4878574"/>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7" name="Oval 106">
            <a:extLst>
              <a:ext uri="{FF2B5EF4-FFF2-40B4-BE49-F238E27FC236}">
                <a16:creationId xmlns:a16="http://schemas.microsoft.com/office/drawing/2014/main" id="{3A1AC3E7-76BA-4201-BBA6-AFD3EC34233A}"/>
              </a:ext>
            </a:extLst>
          </p:cNvPr>
          <p:cNvSpPr/>
          <p:nvPr/>
        </p:nvSpPr>
        <p:spPr bwMode="auto">
          <a:xfrm>
            <a:off x="5560061" y="4878574"/>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8" name="Oval 107">
            <a:extLst>
              <a:ext uri="{FF2B5EF4-FFF2-40B4-BE49-F238E27FC236}">
                <a16:creationId xmlns:a16="http://schemas.microsoft.com/office/drawing/2014/main" id="{D3B3728B-1385-4E51-9BEC-BBF7223B0AEC}"/>
              </a:ext>
            </a:extLst>
          </p:cNvPr>
          <p:cNvSpPr/>
          <p:nvPr/>
        </p:nvSpPr>
        <p:spPr bwMode="auto">
          <a:xfrm>
            <a:off x="8612762" y="5625696"/>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9" name="Oval 108">
            <a:extLst>
              <a:ext uri="{FF2B5EF4-FFF2-40B4-BE49-F238E27FC236}">
                <a16:creationId xmlns:a16="http://schemas.microsoft.com/office/drawing/2014/main" id="{89EB07F8-0F20-43FF-9102-72A68DBDBFAA}"/>
              </a:ext>
            </a:extLst>
          </p:cNvPr>
          <p:cNvSpPr/>
          <p:nvPr/>
        </p:nvSpPr>
        <p:spPr bwMode="auto">
          <a:xfrm>
            <a:off x="3676191" y="5625696"/>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10" name="Oval 109">
            <a:extLst>
              <a:ext uri="{FF2B5EF4-FFF2-40B4-BE49-F238E27FC236}">
                <a16:creationId xmlns:a16="http://schemas.microsoft.com/office/drawing/2014/main" id="{2B8FC0A1-1AEE-4B61-A4FC-9668CB419C6A}"/>
              </a:ext>
            </a:extLst>
          </p:cNvPr>
          <p:cNvSpPr/>
          <p:nvPr/>
        </p:nvSpPr>
        <p:spPr bwMode="auto">
          <a:xfrm>
            <a:off x="6869916" y="5625696"/>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11" name="TextBox 110">
            <a:extLst>
              <a:ext uri="{FF2B5EF4-FFF2-40B4-BE49-F238E27FC236}">
                <a16:creationId xmlns:a16="http://schemas.microsoft.com/office/drawing/2014/main" id="{8D24E98D-6ECF-4046-8BAF-FAA13A8FF0AD}"/>
              </a:ext>
            </a:extLst>
          </p:cNvPr>
          <p:cNvSpPr txBox="1"/>
          <p:nvPr/>
        </p:nvSpPr>
        <p:spPr>
          <a:xfrm>
            <a:off x="3860819" y="221946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2" name="TextBox 111">
            <a:extLst>
              <a:ext uri="{FF2B5EF4-FFF2-40B4-BE49-F238E27FC236}">
                <a16:creationId xmlns:a16="http://schemas.microsoft.com/office/drawing/2014/main" id="{98F05424-B13F-4BDB-835C-583ED534D4D4}"/>
              </a:ext>
            </a:extLst>
          </p:cNvPr>
          <p:cNvSpPr txBox="1"/>
          <p:nvPr/>
        </p:nvSpPr>
        <p:spPr>
          <a:xfrm>
            <a:off x="6780436" y="221946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3" name="TextBox 112">
            <a:extLst>
              <a:ext uri="{FF2B5EF4-FFF2-40B4-BE49-F238E27FC236}">
                <a16:creationId xmlns:a16="http://schemas.microsoft.com/office/drawing/2014/main" id="{5026139C-13A7-44CE-B088-B8A20F0DB682}"/>
              </a:ext>
            </a:extLst>
          </p:cNvPr>
          <p:cNvSpPr txBox="1"/>
          <p:nvPr/>
        </p:nvSpPr>
        <p:spPr>
          <a:xfrm>
            <a:off x="8626533" y="2219460"/>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4" name="TextBox 113">
            <a:extLst>
              <a:ext uri="{FF2B5EF4-FFF2-40B4-BE49-F238E27FC236}">
                <a16:creationId xmlns:a16="http://schemas.microsoft.com/office/drawing/2014/main" id="{B3D9AAC7-8BE5-4992-B78F-5D017C1F9202}"/>
              </a:ext>
            </a:extLst>
          </p:cNvPr>
          <p:cNvSpPr txBox="1"/>
          <p:nvPr/>
        </p:nvSpPr>
        <p:spPr>
          <a:xfrm>
            <a:off x="5148843" y="3034083"/>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5" name="TextBox 114">
            <a:extLst>
              <a:ext uri="{FF2B5EF4-FFF2-40B4-BE49-F238E27FC236}">
                <a16:creationId xmlns:a16="http://schemas.microsoft.com/office/drawing/2014/main" id="{4204758A-081B-4AE9-9257-5D7CBC03365E}"/>
              </a:ext>
            </a:extLst>
          </p:cNvPr>
          <p:cNvSpPr txBox="1"/>
          <p:nvPr/>
        </p:nvSpPr>
        <p:spPr>
          <a:xfrm>
            <a:off x="6416642" y="3034083"/>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6" name="TextBox 115">
            <a:extLst>
              <a:ext uri="{FF2B5EF4-FFF2-40B4-BE49-F238E27FC236}">
                <a16:creationId xmlns:a16="http://schemas.microsoft.com/office/drawing/2014/main" id="{AA2F3C75-5182-463C-BA75-F2C7B7BEB22F}"/>
              </a:ext>
            </a:extLst>
          </p:cNvPr>
          <p:cNvSpPr txBox="1"/>
          <p:nvPr/>
        </p:nvSpPr>
        <p:spPr>
          <a:xfrm>
            <a:off x="8085759" y="3034083"/>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7" name="TextBox 116">
            <a:extLst>
              <a:ext uri="{FF2B5EF4-FFF2-40B4-BE49-F238E27FC236}">
                <a16:creationId xmlns:a16="http://schemas.microsoft.com/office/drawing/2014/main" id="{FF1EE458-03D0-4B0E-9758-8DB61B60B3B7}"/>
              </a:ext>
            </a:extLst>
          </p:cNvPr>
          <p:cNvSpPr txBox="1"/>
          <p:nvPr/>
        </p:nvSpPr>
        <p:spPr>
          <a:xfrm>
            <a:off x="5148843" y="379839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8" name="TextBox 117">
            <a:extLst>
              <a:ext uri="{FF2B5EF4-FFF2-40B4-BE49-F238E27FC236}">
                <a16:creationId xmlns:a16="http://schemas.microsoft.com/office/drawing/2014/main" id="{528607E0-9375-4ED8-B65A-3F9BE7B1B233}"/>
              </a:ext>
            </a:extLst>
          </p:cNvPr>
          <p:cNvSpPr txBox="1"/>
          <p:nvPr/>
        </p:nvSpPr>
        <p:spPr>
          <a:xfrm>
            <a:off x="3795366" y="379839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9" name="TextBox 118">
            <a:extLst>
              <a:ext uri="{FF2B5EF4-FFF2-40B4-BE49-F238E27FC236}">
                <a16:creationId xmlns:a16="http://schemas.microsoft.com/office/drawing/2014/main" id="{E83E37CE-34FB-4D9F-8A52-D60686053F2A}"/>
              </a:ext>
            </a:extLst>
          </p:cNvPr>
          <p:cNvSpPr txBox="1"/>
          <p:nvPr/>
        </p:nvSpPr>
        <p:spPr>
          <a:xfrm>
            <a:off x="6720462" y="379839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0" name="TextBox 119">
            <a:extLst>
              <a:ext uri="{FF2B5EF4-FFF2-40B4-BE49-F238E27FC236}">
                <a16:creationId xmlns:a16="http://schemas.microsoft.com/office/drawing/2014/main" id="{1AC3F6D1-53AA-4932-8CE5-4062DC55CC05}"/>
              </a:ext>
            </a:extLst>
          </p:cNvPr>
          <p:cNvSpPr txBox="1"/>
          <p:nvPr/>
        </p:nvSpPr>
        <p:spPr>
          <a:xfrm>
            <a:off x="5148843" y="4553471"/>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1" name="TextBox 120">
            <a:extLst>
              <a:ext uri="{FF2B5EF4-FFF2-40B4-BE49-F238E27FC236}">
                <a16:creationId xmlns:a16="http://schemas.microsoft.com/office/drawing/2014/main" id="{418421F0-20E9-4344-B118-A0E261E35CB0}"/>
              </a:ext>
            </a:extLst>
          </p:cNvPr>
          <p:cNvSpPr txBox="1"/>
          <p:nvPr/>
        </p:nvSpPr>
        <p:spPr>
          <a:xfrm>
            <a:off x="3284088" y="4553471"/>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2" name="TextBox 121">
            <a:extLst>
              <a:ext uri="{FF2B5EF4-FFF2-40B4-BE49-F238E27FC236}">
                <a16:creationId xmlns:a16="http://schemas.microsoft.com/office/drawing/2014/main" id="{549B8614-70B8-42E1-8719-39E21E31475E}"/>
              </a:ext>
            </a:extLst>
          </p:cNvPr>
          <p:cNvSpPr txBox="1"/>
          <p:nvPr/>
        </p:nvSpPr>
        <p:spPr>
          <a:xfrm>
            <a:off x="6720462" y="4553471"/>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3" name="TextBox 122">
            <a:extLst>
              <a:ext uri="{FF2B5EF4-FFF2-40B4-BE49-F238E27FC236}">
                <a16:creationId xmlns:a16="http://schemas.microsoft.com/office/drawing/2014/main" id="{0172EE7A-8B95-47EE-ADE6-9950FDDDBD6D}"/>
              </a:ext>
            </a:extLst>
          </p:cNvPr>
          <p:cNvSpPr txBox="1"/>
          <p:nvPr/>
        </p:nvSpPr>
        <p:spPr>
          <a:xfrm>
            <a:off x="6446701" y="529007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4" name="TextBox 123">
            <a:extLst>
              <a:ext uri="{FF2B5EF4-FFF2-40B4-BE49-F238E27FC236}">
                <a16:creationId xmlns:a16="http://schemas.microsoft.com/office/drawing/2014/main" id="{8BC50B2F-FFD8-414B-824C-AA5DBBA53B5C}"/>
              </a:ext>
            </a:extLst>
          </p:cNvPr>
          <p:cNvSpPr txBox="1"/>
          <p:nvPr/>
        </p:nvSpPr>
        <p:spPr>
          <a:xfrm>
            <a:off x="3284088" y="529007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5" name="TextBox 124">
            <a:extLst>
              <a:ext uri="{FF2B5EF4-FFF2-40B4-BE49-F238E27FC236}">
                <a16:creationId xmlns:a16="http://schemas.microsoft.com/office/drawing/2014/main" id="{351FEB5A-210C-40B5-90B7-52DADD38FA94}"/>
              </a:ext>
            </a:extLst>
          </p:cNvPr>
          <p:cNvSpPr txBox="1"/>
          <p:nvPr/>
        </p:nvSpPr>
        <p:spPr>
          <a:xfrm>
            <a:off x="8175636" y="5290075"/>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Tree>
    <p:extLst>
      <p:ext uri="{BB962C8B-B14F-4D97-AF65-F5344CB8AC3E}">
        <p14:creationId xmlns:p14="http://schemas.microsoft.com/office/powerpoint/2010/main" val="24176007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ounded Rectangle 33">
            <a:extLst>
              <a:ext uri="{FF2B5EF4-FFF2-40B4-BE49-F238E27FC236}">
                <a16:creationId xmlns:a16="http://schemas.microsoft.com/office/drawing/2014/main" id="{62880837-2C43-40E8-9AF6-B862401777E2}"/>
              </a:ext>
            </a:extLst>
          </p:cNvPr>
          <p:cNvSpPr/>
          <p:nvPr/>
        </p:nvSpPr>
        <p:spPr bwMode="auto">
          <a:xfrm>
            <a:off x="862372" y="2887268"/>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Current ratio</a:t>
            </a:r>
          </a:p>
        </p:txBody>
      </p:sp>
      <p:sp>
        <p:nvSpPr>
          <p:cNvPr id="127" name="Rounded Rectangle 38">
            <a:extLst>
              <a:ext uri="{FF2B5EF4-FFF2-40B4-BE49-F238E27FC236}">
                <a16:creationId xmlns:a16="http://schemas.microsoft.com/office/drawing/2014/main" id="{9D8C6FBA-53B5-4F81-A74B-1E8F9A7484FB}"/>
              </a:ext>
            </a:extLst>
          </p:cNvPr>
          <p:cNvSpPr/>
          <p:nvPr/>
        </p:nvSpPr>
        <p:spPr bwMode="auto">
          <a:xfrm>
            <a:off x="862372" y="3652602"/>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Quick ratio</a:t>
            </a:r>
          </a:p>
        </p:txBody>
      </p:sp>
      <p:sp>
        <p:nvSpPr>
          <p:cNvPr id="128" name="Rounded Rectangle 42">
            <a:extLst>
              <a:ext uri="{FF2B5EF4-FFF2-40B4-BE49-F238E27FC236}">
                <a16:creationId xmlns:a16="http://schemas.microsoft.com/office/drawing/2014/main" id="{71CE224F-9636-4E50-9853-22A0052BD165}"/>
              </a:ext>
            </a:extLst>
          </p:cNvPr>
          <p:cNvSpPr/>
          <p:nvPr/>
        </p:nvSpPr>
        <p:spPr bwMode="auto">
          <a:xfrm>
            <a:off x="862372" y="4417936"/>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Cash ratio</a:t>
            </a: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ummary of our financial statement analysis</a:t>
            </a:r>
            <a:br>
              <a:rPr lang="en-US" sz="2400" dirty="0"/>
            </a:br>
            <a:r>
              <a:rPr lang="en-US" sz="2400" b="0" dirty="0"/>
              <a:t>Liquidity ratio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23</a:t>
            </a:fld>
            <a:endParaRPr lang="en-US" dirty="0">
              <a:solidFill>
                <a:srgbClr val="ADAFBB"/>
              </a:solidFill>
            </a:endParaRPr>
          </a:p>
        </p:txBody>
      </p:sp>
      <p:sp>
        <p:nvSpPr>
          <p:cNvPr id="60" name="Oval 59">
            <a:extLst>
              <a:ext uri="{FF2B5EF4-FFF2-40B4-BE49-F238E27FC236}">
                <a16:creationId xmlns:a16="http://schemas.microsoft.com/office/drawing/2014/main" id="{D7FE79AC-8102-42A4-85B2-BA3C025F66A2}"/>
              </a:ext>
            </a:extLst>
          </p:cNvPr>
          <p:cNvSpPr/>
          <p:nvPr/>
        </p:nvSpPr>
        <p:spPr bwMode="auto">
          <a:xfrm>
            <a:off x="10243766" y="361285"/>
            <a:ext cx="27432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1" name="TextBox 60">
            <a:extLst>
              <a:ext uri="{FF2B5EF4-FFF2-40B4-BE49-F238E27FC236}">
                <a16:creationId xmlns:a16="http://schemas.microsoft.com/office/drawing/2014/main" id="{CFCE2A13-3281-42F0-9E3D-DCF6B6A3BA07}"/>
              </a:ext>
            </a:extLst>
          </p:cNvPr>
          <p:cNvSpPr txBox="1"/>
          <p:nvPr/>
        </p:nvSpPr>
        <p:spPr>
          <a:xfrm>
            <a:off x="10155390" y="364996"/>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X</a:t>
            </a:r>
          </a:p>
        </p:txBody>
      </p:sp>
      <p:sp>
        <p:nvSpPr>
          <p:cNvPr id="62" name="Oval 61">
            <a:extLst>
              <a:ext uri="{FF2B5EF4-FFF2-40B4-BE49-F238E27FC236}">
                <a16:creationId xmlns:a16="http://schemas.microsoft.com/office/drawing/2014/main" id="{B24BB676-FDCB-46DE-A580-B04F9193D736}"/>
              </a:ext>
            </a:extLst>
          </p:cNvPr>
          <p:cNvSpPr/>
          <p:nvPr/>
        </p:nvSpPr>
        <p:spPr bwMode="auto">
          <a:xfrm>
            <a:off x="10242590" y="734911"/>
            <a:ext cx="27432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3" name="TextBox 62">
            <a:extLst>
              <a:ext uri="{FF2B5EF4-FFF2-40B4-BE49-F238E27FC236}">
                <a16:creationId xmlns:a16="http://schemas.microsoft.com/office/drawing/2014/main" id="{BE93EF03-424F-4C8C-8E9B-3B7101B0632F}"/>
              </a:ext>
            </a:extLst>
          </p:cNvPr>
          <p:cNvSpPr txBox="1"/>
          <p:nvPr/>
        </p:nvSpPr>
        <p:spPr>
          <a:xfrm>
            <a:off x="10155390" y="738622"/>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Y</a:t>
            </a:r>
          </a:p>
        </p:txBody>
      </p:sp>
      <p:sp>
        <p:nvSpPr>
          <p:cNvPr id="64" name="Oval 63">
            <a:extLst>
              <a:ext uri="{FF2B5EF4-FFF2-40B4-BE49-F238E27FC236}">
                <a16:creationId xmlns:a16="http://schemas.microsoft.com/office/drawing/2014/main" id="{98FCC64D-DC7C-493D-9174-F3D4AA26D031}"/>
              </a:ext>
            </a:extLst>
          </p:cNvPr>
          <p:cNvSpPr/>
          <p:nvPr/>
        </p:nvSpPr>
        <p:spPr bwMode="auto">
          <a:xfrm>
            <a:off x="10242590" y="1108537"/>
            <a:ext cx="27432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5" name="TextBox 64">
            <a:extLst>
              <a:ext uri="{FF2B5EF4-FFF2-40B4-BE49-F238E27FC236}">
                <a16:creationId xmlns:a16="http://schemas.microsoft.com/office/drawing/2014/main" id="{2DF91A00-00B2-4F8A-B4CE-AFC2BBD8D28D}"/>
              </a:ext>
            </a:extLst>
          </p:cNvPr>
          <p:cNvSpPr txBox="1"/>
          <p:nvPr/>
        </p:nvSpPr>
        <p:spPr>
          <a:xfrm>
            <a:off x="10155390" y="1112248"/>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Z</a:t>
            </a:r>
          </a:p>
        </p:txBody>
      </p:sp>
      <p:sp>
        <p:nvSpPr>
          <p:cNvPr id="89" name="TextBox 88">
            <a:extLst>
              <a:ext uri="{FF2B5EF4-FFF2-40B4-BE49-F238E27FC236}">
                <a16:creationId xmlns:a16="http://schemas.microsoft.com/office/drawing/2014/main" id="{5293073A-0CB1-404E-A602-3F3B39B206FF}"/>
              </a:ext>
            </a:extLst>
          </p:cNvPr>
          <p:cNvSpPr txBox="1"/>
          <p:nvPr/>
        </p:nvSpPr>
        <p:spPr>
          <a:xfrm>
            <a:off x="2486153" y="2355567"/>
            <a:ext cx="98777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Worst peer</a:t>
            </a:r>
          </a:p>
        </p:txBody>
      </p:sp>
      <p:sp>
        <p:nvSpPr>
          <p:cNvPr id="90" name="TextBox 89">
            <a:extLst>
              <a:ext uri="{FF2B5EF4-FFF2-40B4-BE49-F238E27FC236}">
                <a16:creationId xmlns:a16="http://schemas.microsoft.com/office/drawing/2014/main" id="{02B670F7-7F0D-4044-B54E-60EFA8DE668F}"/>
              </a:ext>
            </a:extLst>
          </p:cNvPr>
          <p:cNvSpPr txBox="1"/>
          <p:nvPr/>
        </p:nvSpPr>
        <p:spPr>
          <a:xfrm>
            <a:off x="10063134" y="2355567"/>
            <a:ext cx="883575"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Best peer</a:t>
            </a:r>
          </a:p>
        </p:txBody>
      </p:sp>
      <p:cxnSp>
        <p:nvCxnSpPr>
          <p:cNvPr id="91" name="Straight Connector 90">
            <a:extLst>
              <a:ext uri="{FF2B5EF4-FFF2-40B4-BE49-F238E27FC236}">
                <a16:creationId xmlns:a16="http://schemas.microsoft.com/office/drawing/2014/main" id="{C6B2FD17-5152-440D-9263-CDF1F0DF1963}"/>
              </a:ext>
            </a:extLst>
          </p:cNvPr>
          <p:cNvCxnSpPr>
            <a:cxnSpLocks/>
          </p:cNvCxnSpPr>
          <p:nvPr/>
        </p:nvCxnSpPr>
        <p:spPr>
          <a:xfrm>
            <a:off x="2865738" y="3196860"/>
            <a:ext cx="7651172" cy="0"/>
          </a:xfrm>
          <a:prstGeom prst="line">
            <a:avLst/>
          </a:prstGeom>
          <a:noFill/>
          <a:ln w="12700" cap="flat" cmpd="sng" algn="ctr">
            <a:solidFill>
              <a:srgbClr val="002776">
                <a:shade val="95000"/>
                <a:satMod val="105000"/>
              </a:srgbClr>
            </a:solidFill>
            <a:prstDash val="dash"/>
          </a:ln>
          <a:effectLst/>
        </p:spPr>
      </p:cxnSp>
      <p:cxnSp>
        <p:nvCxnSpPr>
          <p:cNvPr id="92" name="Straight Connector 91">
            <a:extLst>
              <a:ext uri="{FF2B5EF4-FFF2-40B4-BE49-F238E27FC236}">
                <a16:creationId xmlns:a16="http://schemas.microsoft.com/office/drawing/2014/main" id="{D8834B92-3834-41F6-AE53-ADBD2438017C}"/>
              </a:ext>
            </a:extLst>
          </p:cNvPr>
          <p:cNvCxnSpPr>
            <a:cxnSpLocks/>
          </p:cNvCxnSpPr>
          <p:nvPr/>
        </p:nvCxnSpPr>
        <p:spPr>
          <a:xfrm>
            <a:off x="2865738" y="3972483"/>
            <a:ext cx="7651172" cy="0"/>
          </a:xfrm>
          <a:prstGeom prst="line">
            <a:avLst/>
          </a:prstGeom>
          <a:noFill/>
          <a:ln w="12700" cap="flat" cmpd="sng" algn="ctr">
            <a:solidFill>
              <a:srgbClr val="002776">
                <a:shade val="95000"/>
                <a:satMod val="105000"/>
              </a:srgbClr>
            </a:solidFill>
            <a:prstDash val="dash"/>
          </a:ln>
          <a:effectLst/>
        </p:spPr>
      </p:cxnSp>
      <p:cxnSp>
        <p:nvCxnSpPr>
          <p:cNvPr id="93" name="Straight Connector 92">
            <a:extLst>
              <a:ext uri="{FF2B5EF4-FFF2-40B4-BE49-F238E27FC236}">
                <a16:creationId xmlns:a16="http://schemas.microsoft.com/office/drawing/2014/main" id="{D64383E5-7894-4068-B541-9FBE2E3C1901}"/>
              </a:ext>
            </a:extLst>
          </p:cNvPr>
          <p:cNvCxnSpPr>
            <a:cxnSpLocks/>
          </p:cNvCxnSpPr>
          <p:nvPr/>
        </p:nvCxnSpPr>
        <p:spPr>
          <a:xfrm>
            <a:off x="2865738" y="4748106"/>
            <a:ext cx="7651172" cy="0"/>
          </a:xfrm>
          <a:prstGeom prst="line">
            <a:avLst/>
          </a:prstGeom>
          <a:noFill/>
          <a:ln w="12700" cap="flat" cmpd="sng" algn="ctr">
            <a:solidFill>
              <a:srgbClr val="002776">
                <a:shade val="95000"/>
                <a:satMod val="105000"/>
              </a:srgbClr>
            </a:solidFill>
            <a:prstDash val="dash"/>
          </a:ln>
          <a:effectLst/>
        </p:spPr>
      </p:cxnSp>
      <p:sp>
        <p:nvSpPr>
          <p:cNvPr id="96" name="Oval 95">
            <a:extLst>
              <a:ext uri="{FF2B5EF4-FFF2-40B4-BE49-F238E27FC236}">
                <a16:creationId xmlns:a16="http://schemas.microsoft.com/office/drawing/2014/main" id="{C6176997-2C40-4461-B178-9AF06DC7F40E}"/>
              </a:ext>
            </a:extLst>
          </p:cNvPr>
          <p:cNvSpPr/>
          <p:nvPr/>
        </p:nvSpPr>
        <p:spPr bwMode="auto">
          <a:xfrm>
            <a:off x="4290038" y="3059700"/>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7" name="Oval 96">
            <a:extLst>
              <a:ext uri="{FF2B5EF4-FFF2-40B4-BE49-F238E27FC236}">
                <a16:creationId xmlns:a16="http://schemas.microsoft.com/office/drawing/2014/main" id="{352340E1-6DBB-4431-AD46-6802F240351C}"/>
              </a:ext>
            </a:extLst>
          </p:cNvPr>
          <p:cNvSpPr/>
          <p:nvPr/>
        </p:nvSpPr>
        <p:spPr bwMode="auto">
          <a:xfrm>
            <a:off x="7209656" y="3059700"/>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8" name="Oval 97">
            <a:extLst>
              <a:ext uri="{FF2B5EF4-FFF2-40B4-BE49-F238E27FC236}">
                <a16:creationId xmlns:a16="http://schemas.microsoft.com/office/drawing/2014/main" id="{F9679BBD-0063-4328-9918-EBF953F9AB7A}"/>
              </a:ext>
            </a:extLst>
          </p:cNvPr>
          <p:cNvSpPr/>
          <p:nvPr/>
        </p:nvSpPr>
        <p:spPr bwMode="auto">
          <a:xfrm>
            <a:off x="9055753" y="3059700"/>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9" name="Oval 98">
            <a:extLst>
              <a:ext uri="{FF2B5EF4-FFF2-40B4-BE49-F238E27FC236}">
                <a16:creationId xmlns:a16="http://schemas.microsoft.com/office/drawing/2014/main" id="{2DB93F9E-B1C9-4A41-8709-419FF2D61EF5}"/>
              </a:ext>
            </a:extLst>
          </p:cNvPr>
          <p:cNvSpPr/>
          <p:nvPr/>
        </p:nvSpPr>
        <p:spPr bwMode="auto">
          <a:xfrm>
            <a:off x="4227147" y="4610946"/>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0" name="Oval 99">
            <a:extLst>
              <a:ext uri="{FF2B5EF4-FFF2-40B4-BE49-F238E27FC236}">
                <a16:creationId xmlns:a16="http://schemas.microsoft.com/office/drawing/2014/main" id="{223CD049-E8E0-4E33-884D-DE91B1F5B885}"/>
              </a:ext>
            </a:extLst>
          </p:cNvPr>
          <p:cNvSpPr/>
          <p:nvPr/>
        </p:nvSpPr>
        <p:spPr bwMode="auto">
          <a:xfrm>
            <a:off x="7148321" y="4610946"/>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2" name="Oval 101">
            <a:extLst>
              <a:ext uri="{FF2B5EF4-FFF2-40B4-BE49-F238E27FC236}">
                <a16:creationId xmlns:a16="http://schemas.microsoft.com/office/drawing/2014/main" id="{FEA49C4B-4355-421C-A290-1E1A9F96E757}"/>
              </a:ext>
            </a:extLst>
          </p:cNvPr>
          <p:cNvSpPr/>
          <p:nvPr/>
        </p:nvSpPr>
        <p:spPr bwMode="auto">
          <a:xfrm>
            <a:off x="6869916" y="3835323"/>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3" name="Oval 102">
            <a:extLst>
              <a:ext uri="{FF2B5EF4-FFF2-40B4-BE49-F238E27FC236}">
                <a16:creationId xmlns:a16="http://schemas.microsoft.com/office/drawing/2014/main" id="{5071BEF8-ADB4-47BA-9936-292982348B44}"/>
              </a:ext>
            </a:extLst>
          </p:cNvPr>
          <p:cNvSpPr/>
          <p:nvPr/>
        </p:nvSpPr>
        <p:spPr bwMode="auto">
          <a:xfrm>
            <a:off x="8493312" y="3835323"/>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4" name="Oval 103">
            <a:extLst>
              <a:ext uri="{FF2B5EF4-FFF2-40B4-BE49-F238E27FC236}">
                <a16:creationId xmlns:a16="http://schemas.microsoft.com/office/drawing/2014/main" id="{2ABE6662-C4E5-435A-9FBA-A82576213985}"/>
              </a:ext>
            </a:extLst>
          </p:cNvPr>
          <p:cNvSpPr/>
          <p:nvPr/>
        </p:nvSpPr>
        <p:spPr bwMode="auto">
          <a:xfrm>
            <a:off x="5559523" y="3835323"/>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5" name="Oval 104">
            <a:extLst>
              <a:ext uri="{FF2B5EF4-FFF2-40B4-BE49-F238E27FC236}">
                <a16:creationId xmlns:a16="http://schemas.microsoft.com/office/drawing/2014/main" id="{42787DF1-FF33-4A37-BB01-6DF7C908619A}"/>
              </a:ext>
            </a:extLst>
          </p:cNvPr>
          <p:cNvSpPr/>
          <p:nvPr/>
        </p:nvSpPr>
        <p:spPr bwMode="auto">
          <a:xfrm>
            <a:off x="5560061" y="4610946"/>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11" name="TextBox 110">
            <a:extLst>
              <a:ext uri="{FF2B5EF4-FFF2-40B4-BE49-F238E27FC236}">
                <a16:creationId xmlns:a16="http://schemas.microsoft.com/office/drawing/2014/main" id="{8D24E98D-6ECF-4046-8BAF-FAA13A8FF0AD}"/>
              </a:ext>
            </a:extLst>
          </p:cNvPr>
          <p:cNvSpPr txBox="1"/>
          <p:nvPr/>
        </p:nvSpPr>
        <p:spPr>
          <a:xfrm>
            <a:off x="3860819" y="2718219"/>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2" name="TextBox 111">
            <a:extLst>
              <a:ext uri="{FF2B5EF4-FFF2-40B4-BE49-F238E27FC236}">
                <a16:creationId xmlns:a16="http://schemas.microsoft.com/office/drawing/2014/main" id="{98F05424-B13F-4BDB-835C-583ED534D4D4}"/>
              </a:ext>
            </a:extLst>
          </p:cNvPr>
          <p:cNvSpPr txBox="1"/>
          <p:nvPr/>
        </p:nvSpPr>
        <p:spPr>
          <a:xfrm>
            <a:off x="6780436" y="2718219"/>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3" name="TextBox 112">
            <a:extLst>
              <a:ext uri="{FF2B5EF4-FFF2-40B4-BE49-F238E27FC236}">
                <a16:creationId xmlns:a16="http://schemas.microsoft.com/office/drawing/2014/main" id="{5026139C-13A7-44CE-B088-B8A20F0DB682}"/>
              </a:ext>
            </a:extLst>
          </p:cNvPr>
          <p:cNvSpPr txBox="1"/>
          <p:nvPr/>
        </p:nvSpPr>
        <p:spPr>
          <a:xfrm>
            <a:off x="8626533" y="2718219"/>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4" name="TextBox 113">
            <a:extLst>
              <a:ext uri="{FF2B5EF4-FFF2-40B4-BE49-F238E27FC236}">
                <a16:creationId xmlns:a16="http://schemas.microsoft.com/office/drawing/2014/main" id="{B3D9AAC7-8BE5-4992-B78F-5D017C1F9202}"/>
              </a:ext>
            </a:extLst>
          </p:cNvPr>
          <p:cNvSpPr txBox="1"/>
          <p:nvPr/>
        </p:nvSpPr>
        <p:spPr>
          <a:xfrm>
            <a:off x="5148843" y="3532842"/>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5" name="TextBox 114">
            <a:extLst>
              <a:ext uri="{FF2B5EF4-FFF2-40B4-BE49-F238E27FC236}">
                <a16:creationId xmlns:a16="http://schemas.microsoft.com/office/drawing/2014/main" id="{4204758A-081B-4AE9-9257-5D7CBC03365E}"/>
              </a:ext>
            </a:extLst>
          </p:cNvPr>
          <p:cNvSpPr txBox="1"/>
          <p:nvPr/>
        </p:nvSpPr>
        <p:spPr>
          <a:xfrm>
            <a:off x="6416642" y="3532842"/>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6" name="TextBox 115">
            <a:extLst>
              <a:ext uri="{FF2B5EF4-FFF2-40B4-BE49-F238E27FC236}">
                <a16:creationId xmlns:a16="http://schemas.microsoft.com/office/drawing/2014/main" id="{AA2F3C75-5182-463C-BA75-F2C7B7BEB22F}"/>
              </a:ext>
            </a:extLst>
          </p:cNvPr>
          <p:cNvSpPr txBox="1"/>
          <p:nvPr/>
        </p:nvSpPr>
        <p:spPr>
          <a:xfrm>
            <a:off x="8085759" y="3532842"/>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7" name="TextBox 116">
            <a:extLst>
              <a:ext uri="{FF2B5EF4-FFF2-40B4-BE49-F238E27FC236}">
                <a16:creationId xmlns:a16="http://schemas.microsoft.com/office/drawing/2014/main" id="{FF1EE458-03D0-4B0E-9758-8DB61B60B3B7}"/>
              </a:ext>
            </a:extLst>
          </p:cNvPr>
          <p:cNvSpPr txBox="1"/>
          <p:nvPr/>
        </p:nvSpPr>
        <p:spPr>
          <a:xfrm>
            <a:off x="5148843" y="4297154"/>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8" name="TextBox 117">
            <a:extLst>
              <a:ext uri="{FF2B5EF4-FFF2-40B4-BE49-F238E27FC236}">
                <a16:creationId xmlns:a16="http://schemas.microsoft.com/office/drawing/2014/main" id="{528607E0-9375-4ED8-B65A-3F9BE7B1B233}"/>
              </a:ext>
            </a:extLst>
          </p:cNvPr>
          <p:cNvSpPr txBox="1"/>
          <p:nvPr/>
        </p:nvSpPr>
        <p:spPr>
          <a:xfrm>
            <a:off x="3795366" y="4297154"/>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9" name="TextBox 118">
            <a:extLst>
              <a:ext uri="{FF2B5EF4-FFF2-40B4-BE49-F238E27FC236}">
                <a16:creationId xmlns:a16="http://schemas.microsoft.com/office/drawing/2014/main" id="{E83E37CE-34FB-4D9F-8A52-D60686053F2A}"/>
              </a:ext>
            </a:extLst>
          </p:cNvPr>
          <p:cNvSpPr txBox="1"/>
          <p:nvPr/>
        </p:nvSpPr>
        <p:spPr>
          <a:xfrm>
            <a:off x="6720462" y="4297154"/>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Tree>
    <p:extLst>
      <p:ext uri="{BB962C8B-B14F-4D97-AF65-F5344CB8AC3E}">
        <p14:creationId xmlns:p14="http://schemas.microsoft.com/office/powerpoint/2010/main" val="33944762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ounded Rectangle 33">
            <a:extLst>
              <a:ext uri="{FF2B5EF4-FFF2-40B4-BE49-F238E27FC236}">
                <a16:creationId xmlns:a16="http://schemas.microsoft.com/office/drawing/2014/main" id="{62880837-2C43-40E8-9AF6-B862401777E2}"/>
              </a:ext>
            </a:extLst>
          </p:cNvPr>
          <p:cNvSpPr/>
          <p:nvPr/>
        </p:nvSpPr>
        <p:spPr bwMode="auto">
          <a:xfrm>
            <a:off x="862372" y="2887268"/>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Debt to equity ratio</a:t>
            </a:r>
          </a:p>
        </p:txBody>
      </p:sp>
      <p:sp>
        <p:nvSpPr>
          <p:cNvPr id="127" name="Rounded Rectangle 38">
            <a:extLst>
              <a:ext uri="{FF2B5EF4-FFF2-40B4-BE49-F238E27FC236}">
                <a16:creationId xmlns:a16="http://schemas.microsoft.com/office/drawing/2014/main" id="{9D8C6FBA-53B5-4F81-A74B-1E8F9A7484FB}"/>
              </a:ext>
            </a:extLst>
          </p:cNvPr>
          <p:cNvSpPr/>
          <p:nvPr/>
        </p:nvSpPr>
        <p:spPr bwMode="auto">
          <a:xfrm>
            <a:off x="862372" y="3652602"/>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Debt ratio</a:t>
            </a:r>
          </a:p>
        </p:txBody>
      </p:sp>
      <p:sp>
        <p:nvSpPr>
          <p:cNvPr id="128" name="Rounded Rectangle 42">
            <a:extLst>
              <a:ext uri="{FF2B5EF4-FFF2-40B4-BE49-F238E27FC236}">
                <a16:creationId xmlns:a16="http://schemas.microsoft.com/office/drawing/2014/main" id="{71CE224F-9636-4E50-9853-22A0052BD165}"/>
              </a:ext>
            </a:extLst>
          </p:cNvPr>
          <p:cNvSpPr/>
          <p:nvPr/>
        </p:nvSpPr>
        <p:spPr bwMode="auto">
          <a:xfrm>
            <a:off x="862372" y="4417936"/>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Times interest earned (TIE) ratio</a:t>
            </a: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ummary of our financial statement analysis</a:t>
            </a:r>
            <a:br>
              <a:rPr lang="en-US" sz="2400" dirty="0"/>
            </a:br>
            <a:r>
              <a:rPr lang="en-US" sz="2400" b="0" dirty="0"/>
              <a:t>Leverage ratio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24</a:t>
            </a:fld>
            <a:endParaRPr lang="en-US" dirty="0">
              <a:solidFill>
                <a:srgbClr val="ADAFBB"/>
              </a:solidFill>
            </a:endParaRPr>
          </a:p>
        </p:txBody>
      </p:sp>
      <p:sp>
        <p:nvSpPr>
          <p:cNvPr id="60" name="Oval 59">
            <a:extLst>
              <a:ext uri="{FF2B5EF4-FFF2-40B4-BE49-F238E27FC236}">
                <a16:creationId xmlns:a16="http://schemas.microsoft.com/office/drawing/2014/main" id="{D7FE79AC-8102-42A4-85B2-BA3C025F66A2}"/>
              </a:ext>
            </a:extLst>
          </p:cNvPr>
          <p:cNvSpPr/>
          <p:nvPr/>
        </p:nvSpPr>
        <p:spPr bwMode="auto">
          <a:xfrm>
            <a:off x="10243766" y="361285"/>
            <a:ext cx="27432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1" name="TextBox 60">
            <a:extLst>
              <a:ext uri="{FF2B5EF4-FFF2-40B4-BE49-F238E27FC236}">
                <a16:creationId xmlns:a16="http://schemas.microsoft.com/office/drawing/2014/main" id="{CFCE2A13-3281-42F0-9E3D-DCF6B6A3BA07}"/>
              </a:ext>
            </a:extLst>
          </p:cNvPr>
          <p:cNvSpPr txBox="1"/>
          <p:nvPr/>
        </p:nvSpPr>
        <p:spPr>
          <a:xfrm>
            <a:off x="10155390" y="364996"/>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X</a:t>
            </a:r>
          </a:p>
        </p:txBody>
      </p:sp>
      <p:sp>
        <p:nvSpPr>
          <p:cNvPr id="62" name="Oval 61">
            <a:extLst>
              <a:ext uri="{FF2B5EF4-FFF2-40B4-BE49-F238E27FC236}">
                <a16:creationId xmlns:a16="http://schemas.microsoft.com/office/drawing/2014/main" id="{B24BB676-FDCB-46DE-A580-B04F9193D736}"/>
              </a:ext>
            </a:extLst>
          </p:cNvPr>
          <p:cNvSpPr/>
          <p:nvPr/>
        </p:nvSpPr>
        <p:spPr bwMode="auto">
          <a:xfrm>
            <a:off x="10242590" y="734911"/>
            <a:ext cx="27432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3" name="TextBox 62">
            <a:extLst>
              <a:ext uri="{FF2B5EF4-FFF2-40B4-BE49-F238E27FC236}">
                <a16:creationId xmlns:a16="http://schemas.microsoft.com/office/drawing/2014/main" id="{BE93EF03-424F-4C8C-8E9B-3B7101B0632F}"/>
              </a:ext>
            </a:extLst>
          </p:cNvPr>
          <p:cNvSpPr txBox="1"/>
          <p:nvPr/>
        </p:nvSpPr>
        <p:spPr>
          <a:xfrm>
            <a:off x="10155390" y="738622"/>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Y</a:t>
            </a:r>
          </a:p>
        </p:txBody>
      </p:sp>
      <p:sp>
        <p:nvSpPr>
          <p:cNvPr id="64" name="Oval 63">
            <a:extLst>
              <a:ext uri="{FF2B5EF4-FFF2-40B4-BE49-F238E27FC236}">
                <a16:creationId xmlns:a16="http://schemas.microsoft.com/office/drawing/2014/main" id="{98FCC64D-DC7C-493D-9174-F3D4AA26D031}"/>
              </a:ext>
            </a:extLst>
          </p:cNvPr>
          <p:cNvSpPr/>
          <p:nvPr/>
        </p:nvSpPr>
        <p:spPr bwMode="auto">
          <a:xfrm>
            <a:off x="10242590" y="1108537"/>
            <a:ext cx="27432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5" name="TextBox 64">
            <a:extLst>
              <a:ext uri="{FF2B5EF4-FFF2-40B4-BE49-F238E27FC236}">
                <a16:creationId xmlns:a16="http://schemas.microsoft.com/office/drawing/2014/main" id="{2DF91A00-00B2-4F8A-B4CE-AFC2BBD8D28D}"/>
              </a:ext>
            </a:extLst>
          </p:cNvPr>
          <p:cNvSpPr txBox="1"/>
          <p:nvPr/>
        </p:nvSpPr>
        <p:spPr>
          <a:xfrm>
            <a:off x="10155390" y="1112248"/>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Z</a:t>
            </a:r>
          </a:p>
        </p:txBody>
      </p:sp>
      <p:sp>
        <p:nvSpPr>
          <p:cNvPr id="89" name="TextBox 88">
            <a:extLst>
              <a:ext uri="{FF2B5EF4-FFF2-40B4-BE49-F238E27FC236}">
                <a16:creationId xmlns:a16="http://schemas.microsoft.com/office/drawing/2014/main" id="{5293073A-0CB1-404E-A602-3F3B39B206FF}"/>
              </a:ext>
            </a:extLst>
          </p:cNvPr>
          <p:cNvSpPr txBox="1"/>
          <p:nvPr/>
        </p:nvSpPr>
        <p:spPr>
          <a:xfrm>
            <a:off x="2486153" y="2355567"/>
            <a:ext cx="98777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Worst peer</a:t>
            </a:r>
          </a:p>
        </p:txBody>
      </p:sp>
      <p:sp>
        <p:nvSpPr>
          <p:cNvPr id="90" name="TextBox 89">
            <a:extLst>
              <a:ext uri="{FF2B5EF4-FFF2-40B4-BE49-F238E27FC236}">
                <a16:creationId xmlns:a16="http://schemas.microsoft.com/office/drawing/2014/main" id="{02B670F7-7F0D-4044-B54E-60EFA8DE668F}"/>
              </a:ext>
            </a:extLst>
          </p:cNvPr>
          <p:cNvSpPr txBox="1"/>
          <p:nvPr/>
        </p:nvSpPr>
        <p:spPr>
          <a:xfrm>
            <a:off x="10063134" y="2355567"/>
            <a:ext cx="883575"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Best peer</a:t>
            </a:r>
          </a:p>
        </p:txBody>
      </p:sp>
      <p:cxnSp>
        <p:nvCxnSpPr>
          <p:cNvPr id="91" name="Straight Connector 90">
            <a:extLst>
              <a:ext uri="{FF2B5EF4-FFF2-40B4-BE49-F238E27FC236}">
                <a16:creationId xmlns:a16="http://schemas.microsoft.com/office/drawing/2014/main" id="{C6B2FD17-5152-440D-9263-CDF1F0DF1963}"/>
              </a:ext>
            </a:extLst>
          </p:cNvPr>
          <p:cNvCxnSpPr>
            <a:cxnSpLocks/>
          </p:cNvCxnSpPr>
          <p:nvPr/>
        </p:nvCxnSpPr>
        <p:spPr>
          <a:xfrm>
            <a:off x="2865738" y="3196860"/>
            <a:ext cx="7651172" cy="0"/>
          </a:xfrm>
          <a:prstGeom prst="line">
            <a:avLst/>
          </a:prstGeom>
          <a:noFill/>
          <a:ln w="12700" cap="flat" cmpd="sng" algn="ctr">
            <a:solidFill>
              <a:srgbClr val="002776">
                <a:shade val="95000"/>
                <a:satMod val="105000"/>
              </a:srgbClr>
            </a:solidFill>
            <a:prstDash val="dash"/>
          </a:ln>
          <a:effectLst/>
        </p:spPr>
      </p:cxnSp>
      <p:cxnSp>
        <p:nvCxnSpPr>
          <p:cNvPr id="92" name="Straight Connector 91">
            <a:extLst>
              <a:ext uri="{FF2B5EF4-FFF2-40B4-BE49-F238E27FC236}">
                <a16:creationId xmlns:a16="http://schemas.microsoft.com/office/drawing/2014/main" id="{D8834B92-3834-41F6-AE53-ADBD2438017C}"/>
              </a:ext>
            </a:extLst>
          </p:cNvPr>
          <p:cNvCxnSpPr>
            <a:cxnSpLocks/>
          </p:cNvCxnSpPr>
          <p:nvPr/>
        </p:nvCxnSpPr>
        <p:spPr>
          <a:xfrm>
            <a:off x="2865738" y="3972483"/>
            <a:ext cx="7651172" cy="0"/>
          </a:xfrm>
          <a:prstGeom prst="line">
            <a:avLst/>
          </a:prstGeom>
          <a:noFill/>
          <a:ln w="12700" cap="flat" cmpd="sng" algn="ctr">
            <a:solidFill>
              <a:srgbClr val="002776">
                <a:shade val="95000"/>
                <a:satMod val="105000"/>
              </a:srgbClr>
            </a:solidFill>
            <a:prstDash val="dash"/>
          </a:ln>
          <a:effectLst/>
        </p:spPr>
      </p:cxnSp>
      <p:cxnSp>
        <p:nvCxnSpPr>
          <p:cNvPr id="93" name="Straight Connector 92">
            <a:extLst>
              <a:ext uri="{FF2B5EF4-FFF2-40B4-BE49-F238E27FC236}">
                <a16:creationId xmlns:a16="http://schemas.microsoft.com/office/drawing/2014/main" id="{D64383E5-7894-4068-B541-9FBE2E3C1901}"/>
              </a:ext>
            </a:extLst>
          </p:cNvPr>
          <p:cNvCxnSpPr>
            <a:cxnSpLocks/>
          </p:cNvCxnSpPr>
          <p:nvPr/>
        </p:nvCxnSpPr>
        <p:spPr>
          <a:xfrm>
            <a:off x="2865738" y="4748106"/>
            <a:ext cx="7651172" cy="0"/>
          </a:xfrm>
          <a:prstGeom prst="line">
            <a:avLst/>
          </a:prstGeom>
          <a:noFill/>
          <a:ln w="12700" cap="flat" cmpd="sng" algn="ctr">
            <a:solidFill>
              <a:srgbClr val="002776">
                <a:shade val="95000"/>
                <a:satMod val="105000"/>
              </a:srgbClr>
            </a:solidFill>
            <a:prstDash val="dash"/>
          </a:ln>
          <a:effectLst/>
        </p:spPr>
      </p:cxnSp>
      <p:sp>
        <p:nvSpPr>
          <p:cNvPr id="96" name="Oval 95">
            <a:extLst>
              <a:ext uri="{FF2B5EF4-FFF2-40B4-BE49-F238E27FC236}">
                <a16:creationId xmlns:a16="http://schemas.microsoft.com/office/drawing/2014/main" id="{C6176997-2C40-4461-B178-9AF06DC7F40E}"/>
              </a:ext>
            </a:extLst>
          </p:cNvPr>
          <p:cNvSpPr/>
          <p:nvPr/>
        </p:nvSpPr>
        <p:spPr bwMode="auto">
          <a:xfrm>
            <a:off x="4290038" y="3059700"/>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7" name="Oval 96">
            <a:extLst>
              <a:ext uri="{FF2B5EF4-FFF2-40B4-BE49-F238E27FC236}">
                <a16:creationId xmlns:a16="http://schemas.microsoft.com/office/drawing/2014/main" id="{352340E1-6DBB-4431-AD46-6802F240351C}"/>
              </a:ext>
            </a:extLst>
          </p:cNvPr>
          <p:cNvSpPr/>
          <p:nvPr/>
        </p:nvSpPr>
        <p:spPr bwMode="auto">
          <a:xfrm>
            <a:off x="7209656" y="3059700"/>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8" name="Oval 97">
            <a:extLst>
              <a:ext uri="{FF2B5EF4-FFF2-40B4-BE49-F238E27FC236}">
                <a16:creationId xmlns:a16="http://schemas.microsoft.com/office/drawing/2014/main" id="{F9679BBD-0063-4328-9918-EBF953F9AB7A}"/>
              </a:ext>
            </a:extLst>
          </p:cNvPr>
          <p:cNvSpPr/>
          <p:nvPr/>
        </p:nvSpPr>
        <p:spPr bwMode="auto">
          <a:xfrm>
            <a:off x="9055753" y="3059700"/>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9" name="Oval 98">
            <a:extLst>
              <a:ext uri="{FF2B5EF4-FFF2-40B4-BE49-F238E27FC236}">
                <a16:creationId xmlns:a16="http://schemas.microsoft.com/office/drawing/2014/main" id="{2DB93F9E-B1C9-4A41-8709-419FF2D61EF5}"/>
              </a:ext>
            </a:extLst>
          </p:cNvPr>
          <p:cNvSpPr/>
          <p:nvPr/>
        </p:nvSpPr>
        <p:spPr bwMode="auto">
          <a:xfrm>
            <a:off x="4227147" y="4610946"/>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0" name="Oval 99">
            <a:extLst>
              <a:ext uri="{FF2B5EF4-FFF2-40B4-BE49-F238E27FC236}">
                <a16:creationId xmlns:a16="http://schemas.microsoft.com/office/drawing/2014/main" id="{223CD049-E8E0-4E33-884D-DE91B1F5B885}"/>
              </a:ext>
            </a:extLst>
          </p:cNvPr>
          <p:cNvSpPr/>
          <p:nvPr/>
        </p:nvSpPr>
        <p:spPr bwMode="auto">
          <a:xfrm>
            <a:off x="7148321" y="4610946"/>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2" name="Oval 101">
            <a:extLst>
              <a:ext uri="{FF2B5EF4-FFF2-40B4-BE49-F238E27FC236}">
                <a16:creationId xmlns:a16="http://schemas.microsoft.com/office/drawing/2014/main" id="{FEA49C4B-4355-421C-A290-1E1A9F96E757}"/>
              </a:ext>
            </a:extLst>
          </p:cNvPr>
          <p:cNvSpPr/>
          <p:nvPr/>
        </p:nvSpPr>
        <p:spPr bwMode="auto">
          <a:xfrm>
            <a:off x="6869916" y="3835323"/>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3" name="Oval 102">
            <a:extLst>
              <a:ext uri="{FF2B5EF4-FFF2-40B4-BE49-F238E27FC236}">
                <a16:creationId xmlns:a16="http://schemas.microsoft.com/office/drawing/2014/main" id="{5071BEF8-ADB4-47BA-9936-292982348B44}"/>
              </a:ext>
            </a:extLst>
          </p:cNvPr>
          <p:cNvSpPr/>
          <p:nvPr/>
        </p:nvSpPr>
        <p:spPr bwMode="auto">
          <a:xfrm>
            <a:off x="8493312" y="3835323"/>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4" name="Oval 103">
            <a:extLst>
              <a:ext uri="{FF2B5EF4-FFF2-40B4-BE49-F238E27FC236}">
                <a16:creationId xmlns:a16="http://schemas.microsoft.com/office/drawing/2014/main" id="{2ABE6662-C4E5-435A-9FBA-A82576213985}"/>
              </a:ext>
            </a:extLst>
          </p:cNvPr>
          <p:cNvSpPr/>
          <p:nvPr/>
        </p:nvSpPr>
        <p:spPr bwMode="auto">
          <a:xfrm>
            <a:off x="5559523" y="3835323"/>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5" name="Oval 104">
            <a:extLst>
              <a:ext uri="{FF2B5EF4-FFF2-40B4-BE49-F238E27FC236}">
                <a16:creationId xmlns:a16="http://schemas.microsoft.com/office/drawing/2014/main" id="{42787DF1-FF33-4A37-BB01-6DF7C908619A}"/>
              </a:ext>
            </a:extLst>
          </p:cNvPr>
          <p:cNvSpPr/>
          <p:nvPr/>
        </p:nvSpPr>
        <p:spPr bwMode="auto">
          <a:xfrm>
            <a:off x="5560061" y="4610946"/>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11" name="TextBox 110">
            <a:extLst>
              <a:ext uri="{FF2B5EF4-FFF2-40B4-BE49-F238E27FC236}">
                <a16:creationId xmlns:a16="http://schemas.microsoft.com/office/drawing/2014/main" id="{8D24E98D-6ECF-4046-8BAF-FAA13A8FF0AD}"/>
              </a:ext>
            </a:extLst>
          </p:cNvPr>
          <p:cNvSpPr txBox="1"/>
          <p:nvPr/>
        </p:nvSpPr>
        <p:spPr>
          <a:xfrm>
            <a:off x="3860819" y="2718219"/>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2" name="TextBox 111">
            <a:extLst>
              <a:ext uri="{FF2B5EF4-FFF2-40B4-BE49-F238E27FC236}">
                <a16:creationId xmlns:a16="http://schemas.microsoft.com/office/drawing/2014/main" id="{98F05424-B13F-4BDB-835C-583ED534D4D4}"/>
              </a:ext>
            </a:extLst>
          </p:cNvPr>
          <p:cNvSpPr txBox="1"/>
          <p:nvPr/>
        </p:nvSpPr>
        <p:spPr>
          <a:xfrm>
            <a:off x="6780436" y="2718219"/>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3" name="TextBox 112">
            <a:extLst>
              <a:ext uri="{FF2B5EF4-FFF2-40B4-BE49-F238E27FC236}">
                <a16:creationId xmlns:a16="http://schemas.microsoft.com/office/drawing/2014/main" id="{5026139C-13A7-44CE-B088-B8A20F0DB682}"/>
              </a:ext>
            </a:extLst>
          </p:cNvPr>
          <p:cNvSpPr txBox="1"/>
          <p:nvPr/>
        </p:nvSpPr>
        <p:spPr>
          <a:xfrm>
            <a:off x="8626533" y="2718219"/>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4" name="TextBox 113">
            <a:extLst>
              <a:ext uri="{FF2B5EF4-FFF2-40B4-BE49-F238E27FC236}">
                <a16:creationId xmlns:a16="http://schemas.microsoft.com/office/drawing/2014/main" id="{B3D9AAC7-8BE5-4992-B78F-5D017C1F9202}"/>
              </a:ext>
            </a:extLst>
          </p:cNvPr>
          <p:cNvSpPr txBox="1"/>
          <p:nvPr/>
        </p:nvSpPr>
        <p:spPr>
          <a:xfrm>
            <a:off x="5148843" y="3532842"/>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5" name="TextBox 114">
            <a:extLst>
              <a:ext uri="{FF2B5EF4-FFF2-40B4-BE49-F238E27FC236}">
                <a16:creationId xmlns:a16="http://schemas.microsoft.com/office/drawing/2014/main" id="{4204758A-081B-4AE9-9257-5D7CBC03365E}"/>
              </a:ext>
            </a:extLst>
          </p:cNvPr>
          <p:cNvSpPr txBox="1"/>
          <p:nvPr/>
        </p:nvSpPr>
        <p:spPr>
          <a:xfrm>
            <a:off x="6416642" y="3532842"/>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6" name="TextBox 115">
            <a:extLst>
              <a:ext uri="{FF2B5EF4-FFF2-40B4-BE49-F238E27FC236}">
                <a16:creationId xmlns:a16="http://schemas.microsoft.com/office/drawing/2014/main" id="{AA2F3C75-5182-463C-BA75-F2C7B7BEB22F}"/>
              </a:ext>
            </a:extLst>
          </p:cNvPr>
          <p:cNvSpPr txBox="1"/>
          <p:nvPr/>
        </p:nvSpPr>
        <p:spPr>
          <a:xfrm>
            <a:off x="8085759" y="3532842"/>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7" name="TextBox 116">
            <a:extLst>
              <a:ext uri="{FF2B5EF4-FFF2-40B4-BE49-F238E27FC236}">
                <a16:creationId xmlns:a16="http://schemas.microsoft.com/office/drawing/2014/main" id="{FF1EE458-03D0-4B0E-9758-8DB61B60B3B7}"/>
              </a:ext>
            </a:extLst>
          </p:cNvPr>
          <p:cNvSpPr txBox="1"/>
          <p:nvPr/>
        </p:nvSpPr>
        <p:spPr>
          <a:xfrm>
            <a:off x="5148843" y="4297154"/>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8" name="TextBox 117">
            <a:extLst>
              <a:ext uri="{FF2B5EF4-FFF2-40B4-BE49-F238E27FC236}">
                <a16:creationId xmlns:a16="http://schemas.microsoft.com/office/drawing/2014/main" id="{528607E0-9375-4ED8-B65A-3F9BE7B1B233}"/>
              </a:ext>
            </a:extLst>
          </p:cNvPr>
          <p:cNvSpPr txBox="1"/>
          <p:nvPr/>
        </p:nvSpPr>
        <p:spPr>
          <a:xfrm>
            <a:off x="3795366" y="4297154"/>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9" name="TextBox 118">
            <a:extLst>
              <a:ext uri="{FF2B5EF4-FFF2-40B4-BE49-F238E27FC236}">
                <a16:creationId xmlns:a16="http://schemas.microsoft.com/office/drawing/2014/main" id="{E83E37CE-34FB-4D9F-8A52-D60686053F2A}"/>
              </a:ext>
            </a:extLst>
          </p:cNvPr>
          <p:cNvSpPr txBox="1"/>
          <p:nvPr/>
        </p:nvSpPr>
        <p:spPr>
          <a:xfrm>
            <a:off x="6720462" y="4297154"/>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Tree>
    <p:extLst>
      <p:ext uri="{BB962C8B-B14F-4D97-AF65-F5344CB8AC3E}">
        <p14:creationId xmlns:p14="http://schemas.microsoft.com/office/powerpoint/2010/main" val="20465970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ounded Rectangle 33">
            <a:extLst>
              <a:ext uri="{FF2B5EF4-FFF2-40B4-BE49-F238E27FC236}">
                <a16:creationId xmlns:a16="http://schemas.microsoft.com/office/drawing/2014/main" id="{62880837-2C43-40E8-9AF6-B862401777E2}"/>
              </a:ext>
            </a:extLst>
          </p:cNvPr>
          <p:cNvSpPr/>
          <p:nvPr/>
        </p:nvSpPr>
        <p:spPr bwMode="auto">
          <a:xfrm>
            <a:off x="862372" y="2628652"/>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Dividend Yield</a:t>
            </a:r>
          </a:p>
        </p:txBody>
      </p:sp>
      <p:sp>
        <p:nvSpPr>
          <p:cNvPr id="127" name="Rounded Rectangle 38">
            <a:extLst>
              <a:ext uri="{FF2B5EF4-FFF2-40B4-BE49-F238E27FC236}">
                <a16:creationId xmlns:a16="http://schemas.microsoft.com/office/drawing/2014/main" id="{9D8C6FBA-53B5-4F81-A74B-1E8F9A7484FB}"/>
              </a:ext>
            </a:extLst>
          </p:cNvPr>
          <p:cNvSpPr/>
          <p:nvPr/>
        </p:nvSpPr>
        <p:spPr bwMode="auto">
          <a:xfrm>
            <a:off x="862372" y="3393986"/>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Earnings per share</a:t>
            </a:r>
          </a:p>
          <a:p>
            <a:pPr algn="ctr" defTabSz="623853" fontAlgn="base">
              <a:spcBef>
                <a:spcPts val="200"/>
              </a:spcBef>
              <a:spcAft>
                <a:spcPts val="200"/>
              </a:spcAft>
              <a:buClr>
                <a:srgbClr val="000000"/>
              </a:buClr>
            </a:pPr>
            <a:r>
              <a:rPr lang="en-US" sz="1100" b="1" dirty="0">
                <a:cs typeface="Times New Roman" pitchFamily="18" charset="0"/>
              </a:rPr>
              <a:t>(EPS)</a:t>
            </a:r>
          </a:p>
        </p:txBody>
      </p:sp>
      <p:sp>
        <p:nvSpPr>
          <p:cNvPr id="128" name="Rounded Rectangle 42">
            <a:extLst>
              <a:ext uri="{FF2B5EF4-FFF2-40B4-BE49-F238E27FC236}">
                <a16:creationId xmlns:a16="http://schemas.microsoft.com/office/drawing/2014/main" id="{71CE224F-9636-4E50-9853-22A0052BD165}"/>
              </a:ext>
            </a:extLst>
          </p:cNvPr>
          <p:cNvSpPr/>
          <p:nvPr/>
        </p:nvSpPr>
        <p:spPr bwMode="auto">
          <a:xfrm>
            <a:off x="862372" y="4159320"/>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Price / Earnings</a:t>
            </a:r>
          </a:p>
        </p:txBody>
      </p:sp>
      <p:sp>
        <p:nvSpPr>
          <p:cNvPr id="129" name="Rounded Rectangle 46">
            <a:extLst>
              <a:ext uri="{FF2B5EF4-FFF2-40B4-BE49-F238E27FC236}">
                <a16:creationId xmlns:a16="http://schemas.microsoft.com/office/drawing/2014/main" id="{706028E1-F1CE-49C0-B366-83E32F82CDC9}"/>
              </a:ext>
            </a:extLst>
          </p:cNvPr>
          <p:cNvSpPr/>
          <p:nvPr/>
        </p:nvSpPr>
        <p:spPr bwMode="auto">
          <a:xfrm>
            <a:off x="862372" y="4915418"/>
            <a:ext cx="1627388" cy="621832"/>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cs typeface="Times New Roman" pitchFamily="18" charset="0"/>
              </a:rPr>
              <a:t>Return on Equity</a:t>
            </a:r>
          </a:p>
          <a:p>
            <a:pPr algn="ctr" defTabSz="623853" fontAlgn="base">
              <a:spcBef>
                <a:spcPts val="200"/>
              </a:spcBef>
              <a:spcAft>
                <a:spcPts val="200"/>
              </a:spcAft>
              <a:buClr>
                <a:srgbClr val="000000"/>
              </a:buClr>
            </a:pPr>
            <a:r>
              <a:rPr lang="en-US" sz="1100" b="1" dirty="0">
                <a:cs typeface="Times New Roman" pitchFamily="18" charset="0"/>
              </a:rPr>
              <a:t>(ROE)</a:t>
            </a: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ummary of our financial statement analysis</a:t>
            </a:r>
            <a:br>
              <a:rPr lang="en-US" sz="2400" dirty="0"/>
            </a:br>
            <a:r>
              <a:rPr lang="en-US" sz="2400" b="0" dirty="0"/>
              <a:t>Return on investment ratio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25</a:t>
            </a:fld>
            <a:endParaRPr lang="en-US" dirty="0">
              <a:solidFill>
                <a:srgbClr val="ADAFBB"/>
              </a:solidFill>
            </a:endParaRPr>
          </a:p>
        </p:txBody>
      </p:sp>
      <p:sp>
        <p:nvSpPr>
          <p:cNvPr id="60" name="Oval 59">
            <a:extLst>
              <a:ext uri="{FF2B5EF4-FFF2-40B4-BE49-F238E27FC236}">
                <a16:creationId xmlns:a16="http://schemas.microsoft.com/office/drawing/2014/main" id="{D7FE79AC-8102-42A4-85B2-BA3C025F66A2}"/>
              </a:ext>
            </a:extLst>
          </p:cNvPr>
          <p:cNvSpPr/>
          <p:nvPr/>
        </p:nvSpPr>
        <p:spPr bwMode="auto">
          <a:xfrm>
            <a:off x="10243766" y="361285"/>
            <a:ext cx="27432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1" name="TextBox 60">
            <a:extLst>
              <a:ext uri="{FF2B5EF4-FFF2-40B4-BE49-F238E27FC236}">
                <a16:creationId xmlns:a16="http://schemas.microsoft.com/office/drawing/2014/main" id="{CFCE2A13-3281-42F0-9E3D-DCF6B6A3BA07}"/>
              </a:ext>
            </a:extLst>
          </p:cNvPr>
          <p:cNvSpPr txBox="1"/>
          <p:nvPr/>
        </p:nvSpPr>
        <p:spPr>
          <a:xfrm>
            <a:off x="10155390" y="364996"/>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X</a:t>
            </a:r>
          </a:p>
        </p:txBody>
      </p:sp>
      <p:sp>
        <p:nvSpPr>
          <p:cNvPr id="62" name="Oval 61">
            <a:extLst>
              <a:ext uri="{FF2B5EF4-FFF2-40B4-BE49-F238E27FC236}">
                <a16:creationId xmlns:a16="http://schemas.microsoft.com/office/drawing/2014/main" id="{B24BB676-FDCB-46DE-A580-B04F9193D736}"/>
              </a:ext>
            </a:extLst>
          </p:cNvPr>
          <p:cNvSpPr/>
          <p:nvPr/>
        </p:nvSpPr>
        <p:spPr bwMode="auto">
          <a:xfrm>
            <a:off x="10242590" y="734911"/>
            <a:ext cx="27432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3" name="TextBox 62">
            <a:extLst>
              <a:ext uri="{FF2B5EF4-FFF2-40B4-BE49-F238E27FC236}">
                <a16:creationId xmlns:a16="http://schemas.microsoft.com/office/drawing/2014/main" id="{BE93EF03-424F-4C8C-8E9B-3B7101B0632F}"/>
              </a:ext>
            </a:extLst>
          </p:cNvPr>
          <p:cNvSpPr txBox="1"/>
          <p:nvPr/>
        </p:nvSpPr>
        <p:spPr>
          <a:xfrm>
            <a:off x="10155390" y="738622"/>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Y</a:t>
            </a:r>
          </a:p>
        </p:txBody>
      </p:sp>
      <p:sp>
        <p:nvSpPr>
          <p:cNvPr id="64" name="Oval 63">
            <a:extLst>
              <a:ext uri="{FF2B5EF4-FFF2-40B4-BE49-F238E27FC236}">
                <a16:creationId xmlns:a16="http://schemas.microsoft.com/office/drawing/2014/main" id="{98FCC64D-DC7C-493D-9174-F3D4AA26D031}"/>
              </a:ext>
            </a:extLst>
          </p:cNvPr>
          <p:cNvSpPr/>
          <p:nvPr/>
        </p:nvSpPr>
        <p:spPr bwMode="auto">
          <a:xfrm>
            <a:off x="10242590" y="1108537"/>
            <a:ext cx="27432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solidFill>
                <a:srgbClr val="FFFFFF"/>
              </a:solidFill>
              <a:effectLst/>
              <a:uLnTx/>
              <a:uFillTx/>
              <a:cs typeface="Times New Roman" pitchFamily="18" charset="0"/>
            </a:endParaRPr>
          </a:p>
        </p:txBody>
      </p:sp>
      <p:sp>
        <p:nvSpPr>
          <p:cNvPr id="65" name="TextBox 64">
            <a:extLst>
              <a:ext uri="{FF2B5EF4-FFF2-40B4-BE49-F238E27FC236}">
                <a16:creationId xmlns:a16="http://schemas.microsoft.com/office/drawing/2014/main" id="{2DF91A00-00B2-4F8A-B4CE-AFC2BBD8D28D}"/>
              </a:ext>
            </a:extLst>
          </p:cNvPr>
          <p:cNvSpPr txBox="1"/>
          <p:nvPr/>
        </p:nvSpPr>
        <p:spPr>
          <a:xfrm>
            <a:off x="10155390" y="1112248"/>
            <a:ext cx="160020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2776"/>
                </a:solidFill>
                <a:effectLst/>
                <a:uLnTx/>
                <a:uFillTx/>
              </a:rPr>
              <a:t>Company Z</a:t>
            </a:r>
          </a:p>
        </p:txBody>
      </p:sp>
      <p:sp>
        <p:nvSpPr>
          <p:cNvPr id="89" name="TextBox 88">
            <a:extLst>
              <a:ext uri="{FF2B5EF4-FFF2-40B4-BE49-F238E27FC236}">
                <a16:creationId xmlns:a16="http://schemas.microsoft.com/office/drawing/2014/main" id="{5293073A-0CB1-404E-A602-3F3B39B206FF}"/>
              </a:ext>
            </a:extLst>
          </p:cNvPr>
          <p:cNvSpPr txBox="1"/>
          <p:nvPr/>
        </p:nvSpPr>
        <p:spPr>
          <a:xfrm>
            <a:off x="2486153" y="2096951"/>
            <a:ext cx="987770"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Worst peer</a:t>
            </a:r>
          </a:p>
        </p:txBody>
      </p:sp>
      <p:sp>
        <p:nvSpPr>
          <p:cNvPr id="90" name="TextBox 89">
            <a:extLst>
              <a:ext uri="{FF2B5EF4-FFF2-40B4-BE49-F238E27FC236}">
                <a16:creationId xmlns:a16="http://schemas.microsoft.com/office/drawing/2014/main" id="{02B670F7-7F0D-4044-B54E-60EFA8DE668F}"/>
              </a:ext>
            </a:extLst>
          </p:cNvPr>
          <p:cNvSpPr txBox="1"/>
          <p:nvPr/>
        </p:nvSpPr>
        <p:spPr>
          <a:xfrm>
            <a:off x="10063134" y="2096951"/>
            <a:ext cx="883575"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Best peer</a:t>
            </a:r>
          </a:p>
        </p:txBody>
      </p:sp>
      <p:cxnSp>
        <p:nvCxnSpPr>
          <p:cNvPr id="91" name="Straight Connector 90">
            <a:extLst>
              <a:ext uri="{FF2B5EF4-FFF2-40B4-BE49-F238E27FC236}">
                <a16:creationId xmlns:a16="http://schemas.microsoft.com/office/drawing/2014/main" id="{C6B2FD17-5152-440D-9263-CDF1F0DF1963}"/>
              </a:ext>
            </a:extLst>
          </p:cNvPr>
          <p:cNvCxnSpPr>
            <a:cxnSpLocks/>
          </p:cNvCxnSpPr>
          <p:nvPr/>
        </p:nvCxnSpPr>
        <p:spPr>
          <a:xfrm>
            <a:off x="2865738" y="2938244"/>
            <a:ext cx="7651172" cy="0"/>
          </a:xfrm>
          <a:prstGeom prst="line">
            <a:avLst/>
          </a:prstGeom>
          <a:noFill/>
          <a:ln w="12700" cap="flat" cmpd="sng" algn="ctr">
            <a:solidFill>
              <a:srgbClr val="002776">
                <a:shade val="95000"/>
                <a:satMod val="105000"/>
              </a:srgbClr>
            </a:solidFill>
            <a:prstDash val="dash"/>
          </a:ln>
          <a:effectLst/>
        </p:spPr>
      </p:cxnSp>
      <p:cxnSp>
        <p:nvCxnSpPr>
          <p:cNvPr id="92" name="Straight Connector 91">
            <a:extLst>
              <a:ext uri="{FF2B5EF4-FFF2-40B4-BE49-F238E27FC236}">
                <a16:creationId xmlns:a16="http://schemas.microsoft.com/office/drawing/2014/main" id="{D8834B92-3834-41F6-AE53-ADBD2438017C}"/>
              </a:ext>
            </a:extLst>
          </p:cNvPr>
          <p:cNvCxnSpPr>
            <a:cxnSpLocks/>
          </p:cNvCxnSpPr>
          <p:nvPr/>
        </p:nvCxnSpPr>
        <p:spPr>
          <a:xfrm>
            <a:off x="2865738" y="3713867"/>
            <a:ext cx="7651172" cy="0"/>
          </a:xfrm>
          <a:prstGeom prst="line">
            <a:avLst/>
          </a:prstGeom>
          <a:noFill/>
          <a:ln w="12700" cap="flat" cmpd="sng" algn="ctr">
            <a:solidFill>
              <a:srgbClr val="002776">
                <a:shade val="95000"/>
                <a:satMod val="105000"/>
              </a:srgbClr>
            </a:solidFill>
            <a:prstDash val="dash"/>
          </a:ln>
          <a:effectLst/>
        </p:spPr>
      </p:cxnSp>
      <p:cxnSp>
        <p:nvCxnSpPr>
          <p:cNvPr id="93" name="Straight Connector 92">
            <a:extLst>
              <a:ext uri="{FF2B5EF4-FFF2-40B4-BE49-F238E27FC236}">
                <a16:creationId xmlns:a16="http://schemas.microsoft.com/office/drawing/2014/main" id="{D64383E5-7894-4068-B541-9FBE2E3C1901}"/>
              </a:ext>
            </a:extLst>
          </p:cNvPr>
          <p:cNvCxnSpPr>
            <a:cxnSpLocks/>
          </p:cNvCxnSpPr>
          <p:nvPr/>
        </p:nvCxnSpPr>
        <p:spPr>
          <a:xfrm>
            <a:off x="2865738" y="4489490"/>
            <a:ext cx="7651172" cy="0"/>
          </a:xfrm>
          <a:prstGeom prst="line">
            <a:avLst/>
          </a:prstGeom>
          <a:noFill/>
          <a:ln w="12700" cap="flat" cmpd="sng" algn="ctr">
            <a:solidFill>
              <a:srgbClr val="002776">
                <a:shade val="95000"/>
                <a:satMod val="105000"/>
              </a:srgbClr>
            </a:solidFill>
            <a:prstDash val="dash"/>
          </a:ln>
          <a:effectLst/>
        </p:spPr>
      </p:cxnSp>
      <p:cxnSp>
        <p:nvCxnSpPr>
          <p:cNvPr id="94" name="Straight Connector 93">
            <a:extLst>
              <a:ext uri="{FF2B5EF4-FFF2-40B4-BE49-F238E27FC236}">
                <a16:creationId xmlns:a16="http://schemas.microsoft.com/office/drawing/2014/main" id="{303D6ABA-D966-49AC-86D8-C36DDE18981F}"/>
              </a:ext>
            </a:extLst>
          </p:cNvPr>
          <p:cNvCxnSpPr>
            <a:cxnSpLocks/>
          </p:cNvCxnSpPr>
          <p:nvPr/>
        </p:nvCxnSpPr>
        <p:spPr>
          <a:xfrm>
            <a:off x="2865738" y="5255877"/>
            <a:ext cx="7651172" cy="0"/>
          </a:xfrm>
          <a:prstGeom prst="line">
            <a:avLst/>
          </a:prstGeom>
          <a:noFill/>
          <a:ln w="12700" cap="flat" cmpd="sng" algn="ctr">
            <a:solidFill>
              <a:srgbClr val="002776">
                <a:shade val="95000"/>
                <a:satMod val="105000"/>
              </a:srgbClr>
            </a:solidFill>
            <a:prstDash val="dash"/>
          </a:ln>
          <a:effectLst/>
        </p:spPr>
      </p:cxnSp>
      <p:sp>
        <p:nvSpPr>
          <p:cNvPr id="96" name="Oval 95">
            <a:extLst>
              <a:ext uri="{FF2B5EF4-FFF2-40B4-BE49-F238E27FC236}">
                <a16:creationId xmlns:a16="http://schemas.microsoft.com/office/drawing/2014/main" id="{C6176997-2C40-4461-B178-9AF06DC7F40E}"/>
              </a:ext>
            </a:extLst>
          </p:cNvPr>
          <p:cNvSpPr/>
          <p:nvPr/>
        </p:nvSpPr>
        <p:spPr bwMode="auto">
          <a:xfrm>
            <a:off x="4290038" y="2801084"/>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7" name="Oval 96">
            <a:extLst>
              <a:ext uri="{FF2B5EF4-FFF2-40B4-BE49-F238E27FC236}">
                <a16:creationId xmlns:a16="http://schemas.microsoft.com/office/drawing/2014/main" id="{352340E1-6DBB-4431-AD46-6802F240351C}"/>
              </a:ext>
            </a:extLst>
          </p:cNvPr>
          <p:cNvSpPr/>
          <p:nvPr/>
        </p:nvSpPr>
        <p:spPr bwMode="auto">
          <a:xfrm>
            <a:off x="7209656" y="2801084"/>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8" name="Oval 97">
            <a:extLst>
              <a:ext uri="{FF2B5EF4-FFF2-40B4-BE49-F238E27FC236}">
                <a16:creationId xmlns:a16="http://schemas.microsoft.com/office/drawing/2014/main" id="{F9679BBD-0063-4328-9918-EBF953F9AB7A}"/>
              </a:ext>
            </a:extLst>
          </p:cNvPr>
          <p:cNvSpPr/>
          <p:nvPr/>
        </p:nvSpPr>
        <p:spPr bwMode="auto">
          <a:xfrm>
            <a:off x="9055753" y="2801084"/>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99" name="Oval 98">
            <a:extLst>
              <a:ext uri="{FF2B5EF4-FFF2-40B4-BE49-F238E27FC236}">
                <a16:creationId xmlns:a16="http://schemas.microsoft.com/office/drawing/2014/main" id="{2DB93F9E-B1C9-4A41-8709-419FF2D61EF5}"/>
              </a:ext>
            </a:extLst>
          </p:cNvPr>
          <p:cNvSpPr/>
          <p:nvPr/>
        </p:nvSpPr>
        <p:spPr bwMode="auto">
          <a:xfrm>
            <a:off x="4227147" y="4352330"/>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0" name="Oval 99">
            <a:extLst>
              <a:ext uri="{FF2B5EF4-FFF2-40B4-BE49-F238E27FC236}">
                <a16:creationId xmlns:a16="http://schemas.microsoft.com/office/drawing/2014/main" id="{223CD049-E8E0-4E33-884D-DE91B1F5B885}"/>
              </a:ext>
            </a:extLst>
          </p:cNvPr>
          <p:cNvSpPr/>
          <p:nvPr/>
        </p:nvSpPr>
        <p:spPr bwMode="auto">
          <a:xfrm>
            <a:off x="7148321" y="4352330"/>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1" name="Oval 100">
            <a:extLst>
              <a:ext uri="{FF2B5EF4-FFF2-40B4-BE49-F238E27FC236}">
                <a16:creationId xmlns:a16="http://schemas.microsoft.com/office/drawing/2014/main" id="{F5340496-77D2-489A-9CC9-A683CD7AEB5C}"/>
              </a:ext>
            </a:extLst>
          </p:cNvPr>
          <p:cNvSpPr/>
          <p:nvPr/>
        </p:nvSpPr>
        <p:spPr bwMode="auto">
          <a:xfrm>
            <a:off x="3676191" y="5118717"/>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2" name="Oval 101">
            <a:extLst>
              <a:ext uri="{FF2B5EF4-FFF2-40B4-BE49-F238E27FC236}">
                <a16:creationId xmlns:a16="http://schemas.microsoft.com/office/drawing/2014/main" id="{FEA49C4B-4355-421C-A290-1E1A9F96E757}"/>
              </a:ext>
            </a:extLst>
          </p:cNvPr>
          <p:cNvSpPr/>
          <p:nvPr/>
        </p:nvSpPr>
        <p:spPr bwMode="auto">
          <a:xfrm>
            <a:off x="6869916" y="3576707"/>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3" name="Oval 102">
            <a:extLst>
              <a:ext uri="{FF2B5EF4-FFF2-40B4-BE49-F238E27FC236}">
                <a16:creationId xmlns:a16="http://schemas.microsoft.com/office/drawing/2014/main" id="{5071BEF8-ADB4-47BA-9936-292982348B44}"/>
              </a:ext>
            </a:extLst>
          </p:cNvPr>
          <p:cNvSpPr/>
          <p:nvPr/>
        </p:nvSpPr>
        <p:spPr bwMode="auto">
          <a:xfrm>
            <a:off x="8493312" y="3576707"/>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4" name="Oval 103">
            <a:extLst>
              <a:ext uri="{FF2B5EF4-FFF2-40B4-BE49-F238E27FC236}">
                <a16:creationId xmlns:a16="http://schemas.microsoft.com/office/drawing/2014/main" id="{2ABE6662-C4E5-435A-9FBA-A82576213985}"/>
              </a:ext>
            </a:extLst>
          </p:cNvPr>
          <p:cNvSpPr/>
          <p:nvPr/>
        </p:nvSpPr>
        <p:spPr bwMode="auto">
          <a:xfrm>
            <a:off x="5559523" y="3576707"/>
            <a:ext cx="273600" cy="274320"/>
          </a:xfrm>
          <a:prstGeom prst="ellipse">
            <a:avLst/>
          </a:prstGeom>
          <a:solidFill>
            <a:schemeClr val="accent5"/>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5" name="Oval 104">
            <a:extLst>
              <a:ext uri="{FF2B5EF4-FFF2-40B4-BE49-F238E27FC236}">
                <a16:creationId xmlns:a16="http://schemas.microsoft.com/office/drawing/2014/main" id="{42787DF1-FF33-4A37-BB01-6DF7C908619A}"/>
              </a:ext>
            </a:extLst>
          </p:cNvPr>
          <p:cNvSpPr/>
          <p:nvPr/>
        </p:nvSpPr>
        <p:spPr bwMode="auto">
          <a:xfrm>
            <a:off x="5560061" y="4352330"/>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6" name="Oval 105">
            <a:extLst>
              <a:ext uri="{FF2B5EF4-FFF2-40B4-BE49-F238E27FC236}">
                <a16:creationId xmlns:a16="http://schemas.microsoft.com/office/drawing/2014/main" id="{E4572C8A-77D0-479D-B571-A8FCA205A5DE}"/>
              </a:ext>
            </a:extLst>
          </p:cNvPr>
          <p:cNvSpPr/>
          <p:nvPr/>
        </p:nvSpPr>
        <p:spPr bwMode="auto">
          <a:xfrm>
            <a:off x="7148321" y="5118717"/>
            <a:ext cx="273600" cy="274320"/>
          </a:xfrm>
          <a:prstGeom prst="ellipse">
            <a:avLst/>
          </a:prstGeom>
          <a:solidFill>
            <a:srgbClr val="002776">
              <a:lumMod val="60000"/>
              <a:lumOff val="40000"/>
            </a:srgbClr>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07" name="Oval 106">
            <a:extLst>
              <a:ext uri="{FF2B5EF4-FFF2-40B4-BE49-F238E27FC236}">
                <a16:creationId xmlns:a16="http://schemas.microsoft.com/office/drawing/2014/main" id="{3A1AC3E7-76BA-4201-BBA6-AFD3EC34233A}"/>
              </a:ext>
            </a:extLst>
          </p:cNvPr>
          <p:cNvSpPr/>
          <p:nvPr/>
        </p:nvSpPr>
        <p:spPr bwMode="auto">
          <a:xfrm>
            <a:off x="5560061" y="5118717"/>
            <a:ext cx="273600" cy="274320"/>
          </a:xfrm>
          <a:prstGeom prst="ellipse">
            <a:avLst/>
          </a:prstGeom>
          <a:solidFill>
            <a:srgbClr val="00B050"/>
          </a:solidFill>
          <a:ln>
            <a:noFill/>
          </a:ln>
          <a:effectLst/>
        </p:spPr>
        <p:txBody>
          <a:bodyPr lIns="91428" tIns="45715" rIns="91428" bIns="45715" anchor="ctr"/>
          <a:lstStyle/>
          <a:p>
            <a:pPr marL="0" marR="0" lvl="0" indent="0" algn="ctr" defTabSz="623853"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0" cap="none" spc="0" normalizeH="0" baseline="0" noProof="0" dirty="0">
              <a:ln>
                <a:noFill/>
              </a:ln>
              <a:effectLst/>
              <a:uLnTx/>
              <a:uFillTx/>
              <a:cs typeface="Times New Roman" pitchFamily="18" charset="0"/>
            </a:endParaRPr>
          </a:p>
        </p:txBody>
      </p:sp>
      <p:sp>
        <p:nvSpPr>
          <p:cNvPr id="111" name="TextBox 110">
            <a:extLst>
              <a:ext uri="{FF2B5EF4-FFF2-40B4-BE49-F238E27FC236}">
                <a16:creationId xmlns:a16="http://schemas.microsoft.com/office/drawing/2014/main" id="{8D24E98D-6ECF-4046-8BAF-FAA13A8FF0AD}"/>
              </a:ext>
            </a:extLst>
          </p:cNvPr>
          <p:cNvSpPr txBox="1"/>
          <p:nvPr/>
        </p:nvSpPr>
        <p:spPr>
          <a:xfrm>
            <a:off x="3860819" y="2459603"/>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2" name="TextBox 111">
            <a:extLst>
              <a:ext uri="{FF2B5EF4-FFF2-40B4-BE49-F238E27FC236}">
                <a16:creationId xmlns:a16="http://schemas.microsoft.com/office/drawing/2014/main" id="{98F05424-B13F-4BDB-835C-583ED534D4D4}"/>
              </a:ext>
            </a:extLst>
          </p:cNvPr>
          <p:cNvSpPr txBox="1"/>
          <p:nvPr/>
        </p:nvSpPr>
        <p:spPr>
          <a:xfrm>
            <a:off x="6780436" y="2459603"/>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3" name="TextBox 112">
            <a:extLst>
              <a:ext uri="{FF2B5EF4-FFF2-40B4-BE49-F238E27FC236}">
                <a16:creationId xmlns:a16="http://schemas.microsoft.com/office/drawing/2014/main" id="{5026139C-13A7-44CE-B088-B8A20F0DB682}"/>
              </a:ext>
            </a:extLst>
          </p:cNvPr>
          <p:cNvSpPr txBox="1"/>
          <p:nvPr/>
        </p:nvSpPr>
        <p:spPr>
          <a:xfrm>
            <a:off x="8626533" y="2459603"/>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4" name="TextBox 113">
            <a:extLst>
              <a:ext uri="{FF2B5EF4-FFF2-40B4-BE49-F238E27FC236}">
                <a16:creationId xmlns:a16="http://schemas.microsoft.com/office/drawing/2014/main" id="{B3D9AAC7-8BE5-4992-B78F-5D017C1F9202}"/>
              </a:ext>
            </a:extLst>
          </p:cNvPr>
          <p:cNvSpPr txBox="1"/>
          <p:nvPr/>
        </p:nvSpPr>
        <p:spPr>
          <a:xfrm>
            <a:off x="5148843" y="3274226"/>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5" name="TextBox 114">
            <a:extLst>
              <a:ext uri="{FF2B5EF4-FFF2-40B4-BE49-F238E27FC236}">
                <a16:creationId xmlns:a16="http://schemas.microsoft.com/office/drawing/2014/main" id="{4204758A-081B-4AE9-9257-5D7CBC03365E}"/>
              </a:ext>
            </a:extLst>
          </p:cNvPr>
          <p:cNvSpPr txBox="1"/>
          <p:nvPr/>
        </p:nvSpPr>
        <p:spPr>
          <a:xfrm>
            <a:off x="6416642" y="3274226"/>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6" name="TextBox 115">
            <a:extLst>
              <a:ext uri="{FF2B5EF4-FFF2-40B4-BE49-F238E27FC236}">
                <a16:creationId xmlns:a16="http://schemas.microsoft.com/office/drawing/2014/main" id="{AA2F3C75-5182-463C-BA75-F2C7B7BEB22F}"/>
              </a:ext>
            </a:extLst>
          </p:cNvPr>
          <p:cNvSpPr txBox="1"/>
          <p:nvPr/>
        </p:nvSpPr>
        <p:spPr>
          <a:xfrm>
            <a:off x="8085759" y="3274226"/>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7" name="TextBox 116">
            <a:extLst>
              <a:ext uri="{FF2B5EF4-FFF2-40B4-BE49-F238E27FC236}">
                <a16:creationId xmlns:a16="http://schemas.microsoft.com/office/drawing/2014/main" id="{FF1EE458-03D0-4B0E-9758-8DB61B60B3B7}"/>
              </a:ext>
            </a:extLst>
          </p:cNvPr>
          <p:cNvSpPr txBox="1"/>
          <p:nvPr/>
        </p:nvSpPr>
        <p:spPr>
          <a:xfrm>
            <a:off x="5148843" y="4038538"/>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8" name="TextBox 117">
            <a:extLst>
              <a:ext uri="{FF2B5EF4-FFF2-40B4-BE49-F238E27FC236}">
                <a16:creationId xmlns:a16="http://schemas.microsoft.com/office/drawing/2014/main" id="{528607E0-9375-4ED8-B65A-3F9BE7B1B233}"/>
              </a:ext>
            </a:extLst>
          </p:cNvPr>
          <p:cNvSpPr txBox="1"/>
          <p:nvPr/>
        </p:nvSpPr>
        <p:spPr>
          <a:xfrm>
            <a:off x="3795366" y="4038538"/>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19" name="TextBox 118">
            <a:extLst>
              <a:ext uri="{FF2B5EF4-FFF2-40B4-BE49-F238E27FC236}">
                <a16:creationId xmlns:a16="http://schemas.microsoft.com/office/drawing/2014/main" id="{E83E37CE-34FB-4D9F-8A52-D60686053F2A}"/>
              </a:ext>
            </a:extLst>
          </p:cNvPr>
          <p:cNvSpPr txBox="1"/>
          <p:nvPr/>
        </p:nvSpPr>
        <p:spPr>
          <a:xfrm>
            <a:off x="6720462" y="4038538"/>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0" name="TextBox 119">
            <a:extLst>
              <a:ext uri="{FF2B5EF4-FFF2-40B4-BE49-F238E27FC236}">
                <a16:creationId xmlns:a16="http://schemas.microsoft.com/office/drawing/2014/main" id="{1AC3F6D1-53AA-4932-8CE5-4062DC55CC05}"/>
              </a:ext>
            </a:extLst>
          </p:cNvPr>
          <p:cNvSpPr txBox="1"/>
          <p:nvPr/>
        </p:nvSpPr>
        <p:spPr>
          <a:xfrm>
            <a:off x="5148843" y="4793614"/>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1" name="TextBox 120">
            <a:extLst>
              <a:ext uri="{FF2B5EF4-FFF2-40B4-BE49-F238E27FC236}">
                <a16:creationId xmlns:a16="http://schemas.microsoft.com/office/drawing/2014/main" id="{418421F0-20E9-4344-B118-A0E261E35CB0}"/>
              </a:ext>
            </a:extLst>
          </p:cNvPr>
          <p:cNvSpPr txBox="1"/>
          <p:nvPr/>
        </p:nvSpPr>
        <p:spPr>
          <a:xfrm>
            <a:off x="3284088" y="4793614"/>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
        <p:nvSpPr>
          <p:cNvPr id="122" name="TextBox 121">
            <a:extLst>
              <a:ext uri="{FF2B5EF4-FFF2-40B4-BE49-F238E27FC236}">
                <a16:creationId xmlns:a16="http://schemas.microsoft.com/office/drawing/2014/main" id="{549B8614-70B8-42E1-8719-39E21E31475E}"/>
              </a:ext>
            </a:extLst>
          </p:cNvPr>
          <p:cNvSpPr txBox="1"/>
          <p:nvPr/>
        </p:nvSpPr>
        <p:spPr>
          <a:xfrm>
            <a:off x="6720462" y="4793614"/>
            <a:ext cx="1132041" cy="27699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Insert number</a:t>
            </a:r>
          </a:p>
        </p:txBody>
      </p:sp>
    </p:spTree>
    <p:extLst>
      <p:ext uri="{BB962C8B-B14F-4D97-AF65-F5344CB8AC3E}">
        <p14:creationId xmlns:p14="http://schemas.microsoft.com/office/powerpoint/2010/main" val="28921639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6</a:t>
            </a:fld>
            <a:endParaRPr lang="en-US" sz="1000" dirty="0">
              <a:solidFill>
                <a:srgbClr val="ADAFBB"/>
              </a:solidFill>
            </a:endParaRPr>
          </a:p>
        </p:txBody>
      </p:sp>
      <p:sp>
        <p:nvSpPr>
          <p:cNvPr id="2" name="Chevron 10">
            <a:extLst>
              <a:ext uri="{FF2B5EF4-FFF2-40B4-BE49-F238E27FC236}">
                <a16:creationId xmlns:a16="http://schemas.microsoft.com/office/drawing/2014/main" id="{A805F83B-56F3-4732-C8D6-01B46F9E97BE}"/>
              </a:ext>
            </a:extLst>
          </p:cNvPr>
          <p:cNvSpPr/>
          <p:nvPr/>
        </p:nvSpPr>
        <p:spPr bwMode="auto">
          <a:xfrm>
            <a:off x="2363718"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F61CD57B-87F9-E5AA-587B-4F15F205DB50}"/>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B271EE0A-8E1B-1191-691A-A2D8E22B7388}"/>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18178DD7-E82B-BF79-4501-B16314C89E87}"/>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3B5A7E2E-1267-983F-C1EA-8105932F8B50}"/>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FA717BFA-05A8-ED01-6CB7-BBDB735CC91A}"/>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8BCE0EA7-8409-7B5F-1F8E-73445B227D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5ADEE204-7280-9A62-53A1-7F7DB5F551E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7F8BD381-44B7-71F4-15F2-A35DD8AA765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DEC2C730-8922-7853-4498-CA5C45AAEB6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4897546D-2580-030B-21EC-572FB533EFC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F7DF67A2-0519-777E-31DE-47425ED169EC}"/>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37908B5-BD39-04C4-3D64-0EFEFE69C7AC}"/>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C1DACED-55E7-7BE1-0847-D2671B72802F}"/>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EBECA2F-A321-19D2-0AE8-6253AC3DD7C2}"/>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C51E6AC-2F76-1930-9C07-23AF2B405F45}"/>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CD85CF5-404E-397E-70D8-83BA0F3B5E5E}"/>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83C39AF7-D964-2CF5-08A3-53F41F4664E0}"/>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3" name="Rectangle 22">
            <a:extLst>
              <a:ext uri="{FF2B5EF4-FFF2-40B4-BE49-F238E27FC236}">
                <a16:creationId xmlns:a16="http://schemas.microsoft.com/office/drawing/2014/main" id="{F0FBDB42-00EF-F29D-1B47-595514D8A8C1}"/>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B0F0"/>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24" name="Rectangle 23">
            <a:extLst>
              <a:ext uri="{FF2B5EF4-FFF2-40B4-BE49-F238E27FC236}">
                <a16:creationId xmlns:a16="http://schemas.microsoft.com/office/drawing/2014/main" id="{C5F4FA14-F859-3FD4-501E-94663384C2E8}"/>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25" name="Rectangle 24">
            <a:extLst>
              <a:ext uri="{FF2B5EF4-FFF2-40B4-BE49-F238E27FC236}">
                <a16:creationId xmlns:a16="http://schemas.microsoft.com/office/drawing/2014/main" id="{CB3A2E3B-C69D-0D68-3EC2-99DB3384AADD}"/>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26" name="Graphic 25" descr="Statistics outline">
            <a:extLst>
              <a:ext uri="{FF2B5EF4-FFF2-40B4-BE49-F238E27FC236}">
                <a16:creationId xmlns:a16="http://schemas.microsoft.com/office/drawing/2014/main" id="{847B4F26-49F4-6B0B-4DDF-AD15CC6BEBA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27" name="Rectangle 26">
            <a:extLst>
              <a:ext uri="{FF2B5EF4-FFF2-40B4-BE49-F238E27FC236}">
                <a16:creationId xmlns:a16="http://schemas.microsoft.com/office/drawing/2014/main" id="{90BA11AA-7C89-6FD3-C8CB-883D849A777D}"/>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9826432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D7CB83BD-BA5C-429A-B579-008A442C4480}"/>
              </a:ext>
            </a:extLst>
          </p:cNvPr>
          <p:cNvSpPr/>
          <p:nvPr/>
        </p:nvSpPr>
        <p:spPr>
          <a:xfrm>
            <a:off x="775847" y="2479954"/>
            <a:ext cx="2733965"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Insert company name</a:t>
            </a:r>
          </a:p>
        </p:txBody>
      </p:sp>
      <p:sp>
        <p:nvSpPr>
          <p:cNvPr id="18" name="Rectangle 17">
            <a:extLst>
              <a:ext uri="{FF2B5EF4-FFF2-40B4-BE49-F238E27FC236}">
                <a16:creationId xmlns:a16="http://schemas.microsoft.com/office/drawing/2014/main" id="{6690B5F9-90B9-4DDB-8F95-51D207BE3335}"/>
              </a:ext>
            </a:extLst>
          </p:cNvPr>
          <p:cNvSpPr/>
          <p:nvPr/>
        </p:nvSpPr>
        <p:spPr>
          <a:xfrm>
            <a:off x="775847" y="2957756"/>
            <a:ext cx="2733965" cy="2057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Arial" panose="020B0604020202020204"/>
                <a:ea typeface="+mn-ea"/>
                <a:cs typeface="+mn-cs"/>
              </a:rPr>
              <a:t>Insert number (e.g. $200M-250M)</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Standalone business valuation of our 3 targets using a discounted cash flow model plus terminal value</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27</a:t>
            </a:fld>
            <a:endParaRPr lang="en-US" dirty="0">
              <a:solidFill>
                <a:srgbClr val="ADAFBB"/>
              </a:solidFill>
            </a:endParaRPr>
          </a:p>
        </p:txBody>
      </p:sp>
      <p:sp>
        <p:nvSpPr>
          <p:cNvPr id="15" name="Rectangle 14">
            <a:extLst>
              <a:ext uri="{FF2B5EF4-FFF2-40B4-BE49-F238E27FC236}">
                <a16:creationId xmlns:a16="http://schemas.microsoft.com/office/drawing/2014/main" id="{C2F89661-CA86-4D89-95FB-36076FD91099}"/>
              </a:ext>
            </a:extLst>
          </p:cNvPr>
          <p:cNvSpPr/>
          <p:nvPr/>
        </p:nvSpPr>
        <p:spPr>
          <a:xfrm>
            <a:off x="4692060" y="2479954"/>
            <a:ext cx="2733965"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Insert company name</a:t>
            </a:r>
          </a:p>
        </p:txBody>
      </p:sp>
      <p:sp>
        <p:nvSpPr>
          <p:cNvPr id="19" name="Rectangle 18">
            <a:extLst>
              <a:ext uri="{FF2B5EF4-FFF2-40B4-BE49-F238E27FC236}">
                <a16:creationId xmlns:a16="http://schemas.microsoft.com/office/drawing/2014/main" id="{3FE28DC2-2D68-4ABF-9AAD-5BE4CD642950}"/>
              </a:ext>
            </a:extLst>
          </p:cNvPr>
          <p:cNvSpPr/>
          <p:nvPr/>
        </p:nvSpPr>
        <p:spPr>
          <a:xfrm>
            <a:off x="4692060" y="2957756"/>
            <a:ext cx="2733965" cy="2057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Arial" panose="020B0604020202020204"/>
                <a:ea typeface="+mn-ea"/>
                <a:cs typeface="+mn-cs"/>
              </a:rPr>
              <a:t>$250M-$300M</a:t>
            </a:r>
          </a:p>
        </p:txBody>
      </p:sp>
      <p:sp>
        <p:nvSpPr>
          <p:cNvPr id="20" name="Rectangle 19">
            <a:extLst>
              <a:ext uri="{FF2B5EF4-FFF2-40B4-BE49-F238E27FC236}">
                <a16:creationId xmlns:a16="http://schemas.microsoft.com/office/drawing/2014/main" id="{9DC4A919-2119-4C74-BA0F-D71C9E469321}"/>
              </a:ext>
            </a:extLst>
          </p:cNvPr>
          <p:cNvSpPr/>
          <p:nvPr/>
        </p:nvSpPr>
        <p:spPr>
          <a:xfrm>
            <a:off x="8608273" y="2479954"/>
            <a:ext cx="2733965"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Insert company name</a:t>
            </a:r>
          </a:p>
        </p:txBody>
      </p:sp>
      <p:sp>
        <p:nvSpPr>
          <p:cNvPr id="23" name="Rectangle 22">
            <a:extLst>
              <a:ext uri="{FF2B5EF4-FFF2-40B4-BE49-F238E27FC236}">
                <a16:creationId xmlns:a16="http://schemas.microsoft.com/office/drawing/2014/main" id="{8938110C-37D0-45A9-B733-B3E99E8826C8}"/>
              </a:ext>
            </a:extLst>
          </p:cNvPr>
          <p:cNvSpPr/>
          <p:nvPr/>
        </p:nvSpPr>
        <p:spPr>
          <a:xfrm>
            <a:off x="8608273" y="2957756"/>
            <a:ext cx="2733965" cy="2057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00"/>
              </a:spcBef>
              <a:spcAft>
                <a:spcPts val="400"/>
              </a:spcAft>
              <a:defRPr/>
            </a:pPr>
            <a:r>
              <a:rPr kumimoji="0" lang="en-US" sz="2000" b="0" i="0" u="none" strike="noStrike" kern="1200" cap="none" spc="0" normalizeH="0" baseline="0" noProof="0" dirty="0">
                <a:ln>
                  <a:noFill/>
                </a:ln>
                <a:solidFill>
                  <a:srgbClr val="002060"/>
                </a:solidFill>
                <a:effectLst/>
                <a:uLnTx/>
                <a:uFillTx/>
                <a:latin typeface="Arial" panose="020B0604020202020204"/>
                <a:ea typeface="+mn-ea"/>
                <a:cs typeface="+mn-cs"/>
              </a:rPr>
              <a:t>$500M-$600M</a:t>
            </a:r>
          </a:p>
        </p:txBody>
      </p:sp>
    </p:spTree>
    <p:extLst>
      <p:ext uri="{BB962C8B-B14F-4D97-AF65-F5344CB8AC3E}">
        <p14:creationId xmlns:p14="http://schemas.microsoft.com/office/powerpoint/2010/main" val="42566104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8</a:t>
            </a:fld>
            <a:endParaRPr lang="en-US" sz="1000" dirty="0">
              <a:solidFill>
                <a:srgbClr val="ADAFBB"/>
              </a:solidFill>
            </a:endParaRPr>
          </a:p>
        </p:txBody>
      </p:sp>
      <p:sp>
        <p:nvSpPr>
          <p:cNvPr id="2" name="Chevron 10">
            <a:extLst>
              <a:ext uri="{FF2B5EF4-FFF2-40B4-BE49-F238E27FC236}">
                <a16:creationId xmlns:a16="http://schemas.microsoft.com/office/drawing/2014/main" id="{A805F83B-56F3-4732-C8D6-01B46F9E97BE}"/>
              </a:ext>
            </a:extLst>
          </p:cNvPr>
          <p:cNvSpPr/>
          <p:nvPr/>
        </p:nvSpPr>
        <p:spPr bwMode="auto">
          <a:xfrm>
            <a:off x="2363718"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F61CD57B-87F9-E5AA-587B-4F15F205DB50}"/>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B271EE0A-8E1B-1191-691A-A2D8E22B7388}"/>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18178DD7-E82B-BF79-4501-B16314C89E87}"/>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3B5A7E2E-1267-983F-C1EA-8105932F8B50}"/>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FA717BFA-05A8-ED01-6CB7-BBDB735CC91A}"/>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8BCE0EA7-8409-7B5F-1F8E-73445B227D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5ADEE204-7280-9A62-53A1-7F7DB5F551E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7F8BD381-44B7-71F4-15F2-A35DD8AA765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DEC2C730-8922-7853-4498-CA5C45AAEB6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4897546D-2580-030B-21EC-572FB533EFC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F7DF67A2-0519-777E-31DE-47425ED169EC}"/>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37908B5-BD39-04C4-3D64-0EFEFE69C7AC}"/>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C1DACED-55E7-7BE1-0847-D2671B72802F}"/>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EBECA2F-A321-19D2-0AE8-6253AC3DD7C2}"/>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C51E6AC-2F76-1930-9C07-23AF2B405F45}"/>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CD85CF5-404E-397E-70D8-83BA0F3B5E5E}"/>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83C39AF7-D964-2CF5-08A3-53F41F4664E0}"/>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3" name="Rectangle 22">
            <a:extLst>
              <a:ext uri="{FF2B5EF4-FFF2-40B4-BE49-F238E27FC236}">
                <a16:creationId xmlns:a16="http://schemas.microsoft.com/office/drawing/2014/main" id="{F0FBDB42-00EF-F29D-1B47-595514D8A8C1}"/>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B0F0"/>
                </a:solidFill>
              </a:rPr>
              <a:t>Targets approved for the business case phase</a:t>
            </a:r>
          </a:p>
        </p:txBody>
      </p:sp>
      <p:sp>
        <p:nvSpPr>
          <p:cNvPr id="24" name="Rectangle 23">
            <a:extLst>
              <a:ext uri="{FF2B5EF4-FFF2-40B4-BE49-F238E27FC236}">
                <a16:creationId xmlns:a16="http://schemas.microsoft.com/office/drawing/2014/main" id="{C5F4FA14-F859-3FD4-501E-94663384C2E8}"/>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25" name="Rectangle 24">
            <a:extLst>
              <a:ext uri="{FF2B5EF4-FFF2-40B4-BE49-F238E27FC236}">
                <a16:creationId xmlns:a16="http://schemas.microsoft.com/office/drawing/2014/main" id="{CB3A2E3B-C69D-0D68-3EC2-99DB3384AADD}"/>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26" name="Graphic 25" descr="Statistics outline">
            <a:extLst>
              <a:ext uri="{FF2B5EF4-FFF2-40B4-BE49-F238E27FC236}">
                <a16:creationId xmlns:a16="http://schemas.microsoft.com/office/drawing/2014/main" id="{847B4F26-49F4-6B0B-4DDF-AD15CC6BEBA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27" name="Rectangle 26">
            <a:extLst>
              <a:ext uri="{FF2B5EF4-FFF2-40B4-BE49-F238E27FC236}">
                <a16:creationId xmlns:a16="http://schemas.microsoft.com/office/drawing/2014/main" id="{90BA11AA-7C89-6FD3-C8CB-883D849A777D}"/>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12483799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Based on our financial statements analysis and business valuation estimates, we decided to approve [insert company name] and the [insert company name] for the business case phase</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29</a:t>
            </a:fld>
            <a:endParaRPr lang="en-US" dirty="0">
              <a:solidFill>
                <a:srgbClr val="ADAFBB"/>
              </a:solidFill>
            </a:endParaRPr>
          </a:p>
        </p:txBody>
      </p:sp>
      <p:sp>
        <p:nvSpPr>
          <p:cNvPr id="11" name="Rectangle 10">
            <a:extLst>
              <a:ext uri="{FF2B5EF4-FFF2-40B4-BE49-F238E27FC236}">
                <a16:creationId xmlns:a16="http://schemas.microsoft.com/office/drawing/2014/main" id="{D3A11C3E-8F34-49E3-8B72-D0AF8C6C170C}"/>
              </a:ext>
            </a:extLst>
          </p:cNvPr>
          <p:cNvSpPr/>
          <p:nvPr/>
        </p:nvSpPr>
        <p:spPr bwMode="auto">
          <a:xfrm>
            <a:off x="641818" y="2807855"/>
            <a:ext cx="10829746" cy="766618"/>
          </a:xfrm>
          <a:prstGeom prst="rect">
            <a:avLst/>
          </a:prstGeom>
          <a:solidFill>
            <a:schemeClr val="tx1">
              <a:lumMod val="10000"/>
              <a:lumOff val="90000"/>
              <a:alpha val="20000"/>
            </a:schemeClr>
          </a:solidFill>
          <a:ln w="28575">
            <a:solidFill>
              <a:srgbClr val="00B050"/>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2" name="Group 3">
            <a:extLst>
              <a:ext uri="{FF2B5EF4-FFF2-40B4-BE49-F238E27FC236}">
                <a16:creationId xmlns:a16="http://schemas.microsoft.com/office/drawing/2014/main" id="{CA24038B-8215-4B7C-A6F4-128DC9596A3E}"/>
              </a:ext>
            </a:extLst>
          </p:cNvPr>
          <p:cNvGraphicFramePr>
            <a:graphicFrameLocks/>
          </p:cNvGraphicFramePr>
          <p:nvPr>
            <p:custDataLst>
              <p:tags r:id="rId2"/>
            </p:custDataLst>
            <p:extLst>
              <p:ext uri="{D42A27DB-BD31-4B8C-83A1-F6EECF244321}">
                <p14:modId xmlns:p14="http://schemas.microsoft.com/office/powerpoint/2010/main" val="4288659826"/>
              </p:ext>
            </p:extLst>
          </p:nvPr>
        </p:nvGraphicFramePr>
        <p:xfrm>
          <a:off x="618835" y="1788026"/>
          <a:ext cx="10931347" cy="4554765"/>
        </p:xfrm>
        <a:graphic>
          <a:graphicData uri="http://schemas.openxmlformats.org/drawingml/2006/table">
            <a:tbl>
              <a:tblPr>
                <a:tableStyleId>{8799B23B-EC83-4686-B30A-512413B5E67A}</a:tableStyleId>
              </a:tblPr>
              <a:tblGrid>
                <a:gridCol w="1967347">
                  <a:extLst>
                    <a:ext uri="{9D8B030D-6E8A-4147-A177-3AD203B41FA5}">
                      <a16:colId xmlns:a16="http://schemas.microsoft.com/office/drawing/2014/main" val="20000"/>
                    </a:ext>
                  </a:extLst>
                </a:gridCol>
                <a:gridCol w="1494000">
                  <a:extLst>
                    <a:ext uri="{9D8B030D-6E8A-4147-A177-3AD203B41FA5}">
                      <a16:colId xmlns:a16="http://schemas.microsoft.com/office/drawing/2014/main" val="20001"/>
                    </a:ext>
                  </a:extLst>
                </a:gridCol>
                <a:gridCol w="1494000">
                  <a:extLst>
                    <a:ext uri="{9D8B030D-6E8A-4147-A177-3AD203B41FA5}">
                      <a16:colId xmlns:a16="http://schemas.microsoft.com/office/drawing/2014/main" val="20002"/>
                    </a:ext>
                  </a:extLst>
                </a:gridCol>
                <a:gridCol w="1494000">
                  <a:extLst>
                    <a:ext uri="{9D8B030D-6E8A-4147-A177-3AD203B41FA5}">
                      <a16:colId xmlns:a16="http://schemas.microsoft.com/office/drawing/2014/main" val="20003"/>
                    </a:ext>
                  </a:extLst>
                </a:gridCol>
                <a:gridCol w="1494000">
                  <a:extLst>
                    <a:ext uri="{9D8B030D-6E8A-4147-A177-3AD203B41FA5}">
                      <a16:colId xmlns:a16="http://schemas.microsoft.com/office/drawing/2014/main" val="20004"/>
                    </a:ext>
                  </a:extLst>
                </a:gridCol>
                <a:gridCol w="1494000">
                  <a:extLst>
                    <a:ext uri="{9D8B030D-6E8A-4147-A177-3AD203B41FA5}">
                      <a16:colId xmlns:a16="http://schemas.microsoft.com/office/drawing/2014/main" val="20005"/>
                    </a:ext>
                  </a:extLst>
                </a:gridCol>
                <a:gridCol w="1494000">
                  <a:extLst>
                    <a:ext uri="{9D8B030D-6E8A-4147-A177-3AD203B41FA5}">
                      <a16:colId xmlns:a16="http://schemas.microsoft.com/office/drawing/2014/main" val="20006"/>
                    </a:ext>
                  </a:extLst>
                </a:gridCol>
              </a:tblGrid>
              <a:tr h="52106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1" i="0" u="none" strike="noStrike" cap="none" normalizeH="0" baseline="0" dirty="0">
                        <a:ln>
                          <a:noFill/>
                        </a:ln>
                        <a:solidFill>
                          <a:schemeClr val="bg1"/>
                        </a:solidFill>
                        <a:effectLst/>
                        <a:latin typeface="Arial" charset="0"/>
                      </a:endParaRPr>
                    </a:p>
                  </a:txBody>
                  <a:tcPr marL="66462" marR="66462" marT="36000" marB="36000" anchor="ctr" horzOverflow="overflow">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1</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2</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3</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4</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1000" b="1" i="0" u="none" strike="noStrike" dirty="0">
                          <a:solidFill>
                            <a:schemeClr val="bg1"/>
                          </a:solidFill>
                          <a:effectLst/>
                          <a:latin typeface="Arial" panose="020B0604020202020204" pitchFamily="34" charset="0"/>
                        </a:rPr>
                        <a:t>Replace this text by your criteria #5</a:t>
                      </a:r>
                      <a:br>
                        <a:rPr lang="en-GB" sz="1000" b="1" i="0" u="none" strike="noStrike" dirty="0">
                          <a:solidFill>
                            <a:schemeClr val="bg1"/>
                          </a:solidFill>
                          <a:effectLst/>
                          <a:latin typeface="Arial" panose="020B0604020202020204" pitchFamily="34" charset="0"/>
                        </a:rPr>
                      </a:br>
                      <a:r>
                        <a:rPr lang="en-GB" sz="900" b="0" i="0" u="none" strike="noStrike" dirty="0">
                          <a:solidFill>
                            <a:schemeClr val="bg1"/>
                          </a:solidFill>
                          <a:effectLst/>
                          <a:latin typeface="Arial" panose="020B0604020202020204" pitchFamily="34" charset="0"/>
                        </a:rPr>
                        <a:t>(0=Do not meet criteria; 1=Meet criteria)</a:t>
                      </a:r>
                      <a:endParaRPr lang="en-GB" sz="10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Total score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396612">
                <a:tc>
                  <a:txBody>
                    <a:bodyPr/>
                    <a:lstStyle/>
                    <a:p>
                      <a:pPr marL="0" indent="0">
                        <a:lnSpc>
                          <a:spcPct val="106000"/>
                        </a:lnSpc>
                        <a:spcBef>
                          <a:spcPts val="40"/>
                        </a:spcBef>
                        <a:spcAft>
                          <a:spcPts val="40"/>
                        </a:spcAft>
                        <a:buFont typeface="Arial" pitchFamily="34" charset="0"/>
                        <a:buNone/>
                      </a:pPr>
                      <a:r>
                        <a:rPr lang="en-US" sz="1000" b="1" dirty="0">
                          <a:solidFill>
                            <a:schemeClr val="tx1"/>
                          </a:solidFill>
                          <a:latin typeface="Arial" charset="0"/>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5</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5</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5</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0</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0" u="none" strike="noStrike" kern="1200" cap="none" normalizeH="0" baseline="0" dirty="0">
                          <a:ln>
                            <a:noFill/>
                          </a:ln>
                          <a:solidFill>
                            <a:schemeClr val="tx1"/>
                          </a:solidFill>
                          <a:effectLst/>
                          <a:latin typeface="+mn-lt"/>
                          <a:ea typeface="+mn-ea"/>
                          <a:cs typeface="+mn-cs"/>
                        </a:rPr>
                        <a:t>1</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100" b="1" u="none" strike="noStrike" kern="1200" cap="none" normalizeH="0" baseline="0" dirty="0">
                          <a:ln>
                            <a:noFill/>
                          </a:ln>
                          <a:solidFill>
                            <a:schemeClr val="tx1"/>
                          </a:solidFill>
                          <a:effectLst/>
                          <a:latin typeface="+mn-lt"/>
                          <a:ea typeface="+mn-ea"/>
                          <a:cs typeface="+mn-cs"/>
                        </a:rPr>
                        <a:t>3</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2551633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is deliverable will focus on the phase II of our Mergers &amp; Acquisitions 6-phase approa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2" name="Chevron 10">
            <a:extLst>
              <a:ext uri="{FF2B5EF4-FFF2-40B4-BE49-F238E27FC236}">
                <a16:creationId xmlns:a16="http://schemas.microsoft.com/office/drawing/2014/main" id="{59486BD0-3A91-8B37-7712-5BE7567FFE5F}"/>
              </a:ext>
            </a:extLst>
          </p:cNvPr>
          <p:cNvSpPr/>
          <p:nvPr/>
        </p:nvSpPr>
        <p:spPr bwMode="auto">
          <a:xfrm>
            <a:off x="2363718"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2AB57111-D0F5-4987-E0B9-9096D3C9F52E}"/>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4C283DD2-77E7-5DE4-26B7-4FEB1256DE59}"/>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D6B01350-AF67-7D24-F4A2-FC46A00CEBDF}"/>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F31A50C5-AE99-2B94-51FF-BAE47E6F7A34}"/>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E56BF3A0-9381-592C-DE3E-79E3A8A7566C}"/>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13129B95-1478-5ECC-AF29-C6610B5D7AA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05E44EC8-1EE1-AF10-264C-6DE0E63552C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AFDB1B6C-19D6-844F-6CAA-C4013FC1A0D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B6DA5120-AD72-0701-2390-8BE10C51F70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B9D9211B-2771-CD57-74BC-54C2014F14B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BAB282C0-82E9-AD0D-031C-FE5B728BC706}"/>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14577B0-8CE5-B874-EC3B-C502A85DC5AF}"/>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6B24086-AA12-1DA0-0C88-09B886FE4409}"/>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970C43A-489A-6975-E948-8E48D6E3F732}"/>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10805EB-C78E-4C92-8E75-7E168977B068}"/>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CAAB2DEA-D243-F4AB-6112-36F841A3BE43}"/>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DB671EEA-1A59-23DF-2321-EE293F80096B}"/>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3" name="Rectangle 22">
            <a:extLst>
              <a:ext uri="{FF2B5EF4-FFF2-40B4-BE49-F238E27FC236}">
                <a16:creationId xmlns:a16="http://schemas.microsoft.com/office/drawing/2014/main" id="{6BA2B843-880E-3F34-2E2A-B41F9A8D5062}"/>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24" name="Rectangle 23">
            <a:extLst>
              <a:ext uri="{FF2B5EF4-FFF2-40B4-BE49-F238E27FC236}">
                <a16:creationId xmlns:a16="http://schemas.microsoft.com/office/drawing/2014/main" id="{F636020A-8A62-CB6F-72E5-3B4E8B17A6F4}"/>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25" name="Rectangle 24">
            <a:extLst>
              <a:ext uri="{FF2B5EF4-FFF2-40B4-BE49-F238E27FC236}">
                <a16:creationId xmlns:a16="http://schemas.microsoft.com/office/drawing/2014/main" id="{BC9F20B6-B256-B827-5FDF-E8FC996129DA}"/>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26" name="Graphic 25" descr="Statistics outline">
            <a:extLst>
              <a:ext uri="{FF2B5EF4-FFF2-40B4-BE49-F238E27FC236}">
                <a16:creationId xmlns:a16="http://schemas.microsoft.com/office/drawing/2014/main" id="{7C35196A-723A-1FFA-A5C0-AAEC0F2FC54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27" name="Rectangle 26">
            <a:extLst>
              <a:ext uri="{FF2B5EF4-FFF2-40B4-BE49-F238E27FC236}">
                <a16:creationId xmlns:a16="http://schemas.microsoft.com/office/drawing/2014/main" id="{CE29D88E-D2D2-6258-1A02-ADA822C257B7}"/>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11107780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30</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31</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2" name="Chevron 10">
            <a:extLst>
              <a:ext uri="{FF2B5EF4-FFF2-40B4-BE49-F238E27FC236}">
                <a16:creationId xmlns:a16="http://schemas.microsoft.com/office/drawing/2014/main" id="{A805F83B-56F3-4732-C8D6-01B46F9E97BE}"/>
              </a:ext>
            </a:extLst>
          </p:cNvPr>
          <p:cNvSpPr/>
          <p:nvPr/>
        </p:nvSpPr>
        <p:spPr bwMode="auto">
          <a:xfrm>
            <a:off x="2363718"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F61CD57B-87F9-E5AA-587B-4F15F205DB50}"/>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B271EE0A-8E1B-1191-691A-A2D8E22B7388}"/>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18178DD7-E82B-BF79-4501-B16314C89E87}"/>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3B5A7E2E-1267-983F-C1EA-8105932F8B50}"/>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FA717BFA-05A8-ED01-6CB7-BBDB735CC91A}"/>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8BCE0EA7-8409-7B5F-1F8E-73445B227D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5ADEE204-7280-9A62-53A1-7F7DB5F551E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7F8BD381-44B7-71F4-15F2-A35DD8AA765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DEC2C730-8922-7853-4498-CA5C45AAEB6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4897546D-2580-030B-21EC-572FB533EFC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F7DF67A2-0519-777E-31DE-47425ED169EC}"/>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37908B5-BD39-04C4-3D64-0EFEFE69C7AC}"/>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C1DACED-55E7-7BE1-0847-D2671B72802F}"/>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EBECA2F-A321-19D2-0AE8-6253AC3DD7C2}"/>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C51E6AC-2F76-1930-9C07-23AF2B405F45}"/>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CD85CF5-404E-397E-70D8-83BA0F3B5E5E}"/>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83C39AF7-D964-2CF5-08A3-53F41F4664E0}"/>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3" name="Rectangle 22">
            <a:extLst>
              <a:ext uri="{FF2B5EF4-FFF2-40B4-BE49-F238E27FC236}">
                <a16:creationId xmlns:a16="http://schemas.microsoft.com/office/drawing/2014/main" id="{F0FBDB42-00EF-F29D-1B47-595514D8A8C1}"/>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B0F0"/>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24" name="Rectangle 23">
            <a:extLst>
              <a:ext uri="{FF2B5EF4-FFF2-40B4-BE49-F238E27FC236}">
                <a16:creationId xmlns:a16="http://schemas.microsoft.com/office/drawing/2014/main" id="{C5F4FA14-F859-3FD4-501E-94663384C2E8}"/>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25" name="Rectangle 24">
            <a:extLst>
              <a:ext uri="{FF2B5EF4-FFF2-40B4-BE49-F238E27FC236}">
                <a16:creationId xmlns:a16="http://schemas.microsoft.com/office/drawing/2014/main" id="{CB3A2E3B-C69D-0D68-3EC2-99DB3384AADD}"/>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26" name="Graphic 25" descr="Statistics outline">
            <a:extLst>
              <a:ext uri="{FF2B5EF4-FFF2-40B4-BE49-F238E27FC236}">
                <a16:creationId xmlns:a16="http://schemas.microsoft.com/office/drawing/2014/main" id="{847B4F26-49F4-6B0B-4DDF-AD15CC6BEBA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27" name="Rectangle 26">
            <a:extLst>
              <a:ext uri="{FF2B5EF4-FFF2-40B4-BE49-F238E27FC236}">
                <a16:creationId xmlns:a16="http://schemas.microsoft.com/office/drawing/2014/main" id="{90BA11AA-7C89-6FD3-C8CB-883D849A777D}"/>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2699743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e identified 5 [insert your own number] screening criteria to help us select the right companies to potentially acquire</a:t>
            </a:r>
            <a:endParaRPr lang="en-US" sz="2400" kern="0" dirty="0"/>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cxnSp>
        <p:nvCxnSpPr>
          <p:cNvPr id="20" name="Straight Connector 19">
            <a:extLst>
              <a:ext uri="{FF2B5EF4-FFF2-40B4-BE49-F238E27FC236}">
                <a16:creationId xmlns:a16="http://schemas.microsoft.com/office/drawing/2014/main" id="{20AEA728-4591-4064-BF22-1324704EA368}"/>
              </a:ext>
            </a:extLst>
          </p:cNvPr>
          <p:cNvCxnSpPr>
            <a:cxnSpLocks/>
          </p:cNvCxnSpPr>
          <p:nvPr/>
        </p:nvCxnSpPr>
        <p:spPr>
          <a:xfrm>
            <a:off x="7005887" y="2683660"/>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C4154393-69BD-4256-83B9-7AB6B511F539}"/>
              </a:ext>
            </a:extLst>
          </p:cNvPr>
          <p:cNvSpPr/>
          <p:nvPr/>
        </p:nvSpPr>
        <p:spPr>
          <a:xfrm>
            <a:off x="8002853" y="2623128"/>
            <a:ext cx="122400" cy="122400"/>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Connector 21">
            <a:extLst>
              <a:ext uri="{FF2B5EF4-FFF2-40B4-BE49-F238E27FC236}">
                <a16:creationId xmlns:a16="http://schemas.microsoft.com/office/drawing/2014/main" id="{7B6444FD-EB2F-44DE-BE6A-97C67CD0E2C1}"/>
              </a:ext>
            </a:extLst>
          </p:cNvPr>
          <p:cNvCxnSpPr>
            <a:cxnSpLocks/>
          </p:cNvCxnSpPr>
          <p:nvPr/>
        </p:nvCxnSpPr>
        <p:spPr>
          <a:xfrm>
            <a:off x="7005887" y="4164605"/>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211A113D-B49F-4321-9B64-2DA0316D05F7}"/>
              </a:ext>
            </a:extLst>
          </p:cNvPr>
          <p:cNvSpPr/>
          <p:nvPr/>
        </p:nvSpPr>
        <p:spPr>
          <a:xfrm>
            <a:off x="8002853" y="4104073"/>
            <a:ext cx="122400" cy="122400"/>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7" name="Straight Connector 36">
            <a:extLst>
              <a:ext uri="{FF2B5EF4-FFF2-40B4-BE49-F238E27FC236}">
                <a16:creationId xmlns:a16="http://schemas.microsoft.com/office/drawing/2014/main" id="{208A4C52-4E6B-427A-83A1-ECE3F1DB2785}"/>
              </a:ext>
            </a:extLst>
          </p:cNvPr>
          <p:cNvCxnSpPr>
            <a:cxnSpLocks/>
          </p:cNvCxnSpPr>
          <p:nvPr/>
        </p:nvCxnSpPr>
        <p:spPr>
          <a:xfrm>
            <a:off x="6795224" y="5584295"/>
            <a:ext cx="1219158" cy="1447"/>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5684BCB9-1D64-4814-8E68-C23822DA165B}"/>
              </a:ext>
            </a:extLst>
          </p:cNvPr>
          <p:cNvSpPr/>
          <p:nvPr/>
        </p:nvSpPr>
        <p:spPr>
          <a:xfrm>
            <a:off x="7980108" y="5523818"/>
            <a:ext cx="122400" cy="122400"/>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9" name="Straight Connector 38">
            <a:extLst>
              <a:ext uri="{FF2B5EF4-FFF2-40B4-BE49-F238E27FC236}">
                <a16:creationId xmlns:a16="http://schemas.microsoft.com/office/drawing/2014/main" id="{C5A847E9-72AE-4EF6-9F3B-B03DC7C7295E}"/>
              </a:ext>
            </a:extLst>
          </p:cNvPr>
          <p:cNvCxnSpPr>
            <a:cxnSpLocks/>
          </p:cNvCxnSpPr>
          <p:nvPr/>
        </p:nvCxnSpPr>
        <p:spPr>
          <a:xfrm flipH="1">
            <a:off x="4106610" y="3409939"/>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B2BE7CAA-8DE3-4194-9626-AB0115E835C9}"/>
              </a:ext>
            </a:extLst>
          </p:cNvPr>
          <p:cNvSpPr/>
          <p:nvPr/>
        </p:nvSpPr>
        <p:spPr>
          <a:xfrm flipH="1">
            <a:off x="4014765" y="3350266"/>
            <a:ext cx="120683" cy="120683"/>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382DAA24-2637-4218-B03C-3D3372996660}"/>
              </a:ext>
            </a:extLst>
          </p:cNvPr>
          <p:cNvCxnSpPr>
            <a:cxnSpLocks/>
          </p:cNvCxnSpPr>
          <p:nvPr/>
        </p:nvCxnSpPr>
        <p:spPr>
          <a:xfrm flipH="1">
            <a:off x="4106610" y="4855575"/>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7B87E424-9BB0-4DE3-B024-133E76635D87}"/>
              </a:ext>
            </a:extLst>
          </p:cNvPr>
          <p:cNvSpPr/>
          <p:nvPr/>
        </p:nvSpPr>
        <p:spPr>
          <a:xfrm flipH="1">
            <a:off x="4014765" y="4795902"/>
            <a:ext cx="120683" cy="120683"/>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eform 6">
            <a:extLst>
              <a:ext uri="{FF2B5EF4-FFF2-40B4-BE49-F238E27FC236}">
                <a16:creationId xmlns:a16="http://schemas.microsoft.com/office/drawing/2014/main" id="{F4838B57-EE6F-4E30-A12E-B872C18B1D4C}"/>
              </a:ext>
            </a:extLst>
          </p:cNvPr>
          <p:cNvSpPr>
            <a:spLocks/>
          </p:cNvSpPr>
          <p:nvPr/>
        </p:nvSpPr>
        <p:spPr bwMode="auto">
          <a:xfrm>
            <a:off x="4332284" y="2221657"/>
            <a:ext cx="3473735" cy="741793"/>
          </a:xfrm>
          <a:custGeom>
            <a:avLst/>
            <a:gdLst/>
            <a:ahLst/>
            <a:cxnLst>
              <a:cxn ang="0">
                <a:pos x="1329" y="0"/>
              </a:cxn>
              <a:cxn ang="0">
                <a:pos x="1655" y="0"/>
              </a:cxn>
              <a:cxn ang="0">
                <a:pos x="1813" y="5"/>
              </a:cxn>
              <a:cxn ang="0">
                <a:pos x="1964" y="9"/>
              </a:cxn>
              <a:cxn ang="0">
                <a:pos x="2108" y="16"/>
              </a:cxn>
              <a:cxn ang="0">
                <a:pos x="2246" y="26"/>
              </a:cxn>
              <a:cxn ang="0">
                <a:pos x="2374" y="37"/>
              </a:cxn>
              <a:cxn ang="0">
                <a:pos x="2490" y="49"/>
              </a:cxn>
              <a:cxn ang="0">
                <a:pos x="2599" y="63"/>
              </a:cxn>
              <a:cxn ang="0">
                <a:pos x="2695" y="79"/>
              </a:cxn>
              <a:cxn ang="0">
                <a:pos x="2778" y="96"/>
              </a:cxn>
              <a:cxn ang="0">
                <a:pos x="2851" y="114"/>
              </a:cxn>
              <a:cxn ang="0">
                <a:pos x="2906" y="133"/>
              </a:cxn>
              <a:cxn ang="0">
                <a:pos x="2948" y="154"/>
              </a:cxn>
              <a:cxn ang="0">
                <a:pos x="2974" y="175"/>
              </a:cxn>
              <a:cxn ang="0">
                <a:pos x="2983" y="196"/>
              </a:cxn>
              <a:cxn ang="0">
                <a:pos x="2983" y="637"/>
              </a:cxn>
              <a:cxn ang="0">
                <a:pos x="0" y="637"/>
              </a:cxn>
              <a:cxn ang="0">
                <a:pos x="0" y="196"/>
              </a:cxn>
              <a:cxn ang="0">
                <a:pos x="10" y="175"/>
              </a:cxn>
              <a:cxn ang="0">
                <a:pos x="35" y="154"/>
              </a:cxn>
              <a:cxn ang="0">
                <a:pos x="77" y="133"/>
              </a:cxn>
              <a:cxn ang="0">
                <a:pos x="133" y="114"/>
              </a:cxn>
              <a:cxn ang="0">
                <a:pos x="205" y="96"/>
              </a:cxn>
              <a:cxn ang="0">
                <a:pos x="289" y="79"/>
              </a:cxn>
              <a:cxn ang="0">
                <a:pos x="384" y="63"/>
              </a:cxn>
              <a:cxn ang="0">
                <a:pos x="494" y="49"/>
              </a:cxn>
              <a:cxn ang="0">
                <a:pos x="610" y="37"/>
              </a:cxn>
              <a:cxn ang="0">
                <a:pos x="738" y="26"/>
              </a:cxn>
              <a:cxn ang="0">
                <a:pos x="875" y="16"/>
              </a:cxn>
              <a:cxn ang="0">
                <a:pos x="1019" y="9"/>
              </a:cxn>
              <a:cxn ang="0">
                <a:pos x="1171" y="5"/>
              </a:cxn>
              <a:cxn ang="0">
                <a:pos x="1329" y="0"/>
              </a:cxn>
            </a:cxnLst>
            <a:rect l="0" t="0" r="r" b="b"/>
            <a:pathLst>
              <a:path w="2983" h="637">
                <a:moveTo>
                  <a:pt x="1329" y="0"/>
                </a:moveTo>
                <a:lnTo>
                  <a:pt x="1655" y="0"/>
                </a:lnTo>
                <a:lnTo>
                  <a:pt x="1813" y="5"/>
                </a:lnTo>
                <a:lnTo>
                  <a:pt x="1964" y="9"/>
                </a:lnTo>
                <a:lnTo>
                  <a:pt x="2108" y="16"/>
                </a:lnTo>
                <a:lnTo>
                  <a:pt x="2246" y="26"/>
                </a:lnTo>
                <a:lnTo>
                  <a:pt x="2374" y="37"/>
                </a:lnTo>
                <a:lnTo>
                  <a:pt x="2490" y="49"/>
                </a:lnTo>
                <a:lnTo>
                  <a:pt x="2599" y="63"/>
                </a:lnTo>
                <a:lnTo>
                  <a:pt x="2695" y="79"/>
                </a:lnTo>
                <a:lnTo>
                  <a:pt x="2778" y="96"/>
                </a:lnTo>
                <a:lnTo>
                  <a:pt x="2851" y="114"/>
                </a:lnTo>
                <a:lnTo>
                  <a:pt x="2906" y="133"/>
                </a:lnTo>
                <a:lnTo>
                  <a:pt x="2948" y="154"/>
                </a:lnTo>
                <a:lnTo>
                  <a:pt x="2974" y="175"/>
                </a:lnTo>
                <a:lnTo>
                  <a:pt x="2983" y="196"/>
                </a:lnTo>
                <a:lnTo>
                  <a:pt x="2983" y="637"/>
                </a:lnTo>
                <a:lnTo>
                  <a:pt x="0" y="637"/>
                </a:lnTo>
                <a:lnTo>
                  <a:pt x="0" y="196"/>
                </a:lnTo>
                <a:lnTo>
                  <a:pt x="10" y="175"/>
                </a:lnTo>
                <a:lnTo>
                  <a:pt x="35" y="154"/>
                </a:lnTo>
                <a:lnTo>
                  <a:pt x="77" y="133"/>
                </a:lnTo>
                <a:lnTo>
                  <a:pt x="133" y="114"/>
                </a:lnTo>
                <a:lnTo>
                  <a:pt x="205" y="96"/>
                </a:lnTo>
                <a:lnTo>
                  <a:pt x="289" y="79"/>
                </a:lnTo>
                <a:lnTo>
                  <a:pt x="384" y="63"/>
                </a:lnTo>
                <a:lnTo>
                  <a:pt x="494" y="49"/>
                </a:lnTo>
                <a:lnTo>
                  <a:pt x="610" y="37"/>
                </a:lnTo>
                <a:lnTo>
                  <a:pt x="738" y="26"/>
                </a:lnTo>
                <a:lnTo>
                  <a:pt x="875" y="16"/>
                </a:lnTo>
                <a:lnTo>
                  <a:pt x="1019" y="9"/>
                </a:lnTo>
                <a:lnTo>
                  <a:pt x="1171" y="5"/>
                </a:lnTo>
                <a:lnTo>
                  <a:pt x="132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7">
            <a:extLst>
              <a:ext uri="{FF2B5EF4-FFF2-40B4-BE49-F238E27FC236}">
                <a16:creationId xmlns:a16="http://schemas.microsoft.com/office/drawing/2014/main" id="{C30115AD-B707-4CF9-A747-D3623D3C6BF8}"/>
              </a:ext>
            </a:extLst>
          </p:cNvPr>
          <p:cNvSpPr>
            <a:spLocks/>
          </p:cNvSpPr>
          <p:nvPr/>
        </p:nvSpPr>
        <p:spPr bwMode="auto">
          <a:xfrm>
            <a:off x="4332284" y="2738700"/>
            <a:ext cx="3473735" cy="454159"/>
          </a:xfrm>
          <a:custGeom>
            <a:avLst/>
            <a:gdLst/>
            <a:ahLst/>
            <a:cxnLst>
              <a:cxn ang="0">
                <a:pos x="1329" y="0"/>
              </a:cxn>
              <a:cxn ang="0">
                <a:pos x="1655" y="0"/>
              </a:cxn>
              <a:cxn ang="0">
                <a:pos x="1813" y="4"/>
              </a:cxn>
              <a:cxn ang="0">
                <a:pos x="1964" y="9"/>
              </a:cxn>
              <a:cxn ang="0">
                <a:pos x="2108" y="16"/>
              </a:cxn>
              <a:cxn ang="0">
                <a:pos x="2246" y="25"/>
              </a:cxn>
              <a:cxn ang="0">
                <a:pos x="2374" y="37"/>
              </a:cxn>
              <a:cxn ang="0">
                <a:pos x="2490" y="49"/>
              </a:cxn>
              <a:cxn ang="0">
                <a:pos x="2599" y="63"/>
              </a:cxn>
              <a:cxn ang="0">
                <a:pos x="2695" y="79"/>
              </a:cxn>
              <a:cxn ang="0">
                <a:pos x="2778" y="95"/>
              </a:cxn>
              <a:cxn ang="0">
                <a:pos x="2851" y="114"/>
              </a:cxn>
              <a:cxn ang="0">
                <a:pos x="2906" y="133"/>
              </a:cxn>
              <a:cxn ang="0">
                <a:pos x="2948" y="151"/>
              </a:cxn>
              <a:cxn ang="0">
                <a:pos x="2974" y="172"/>
              </a:cxn>
              <a:cxn ang="0">
                <a:pos x="2983" y="193"/>
              </a:cxn>
              <a:cxn ang="0">
                <a:pos x="2974" y="214"/>
              </a:cxn>
              <a:cxn ang="0">
                <a:pos x="2948" y="235"/>
              </a:cxn>
              <a:cxn ang="0">
                <a:pos x="2906" y="254"/>
              </a:cxn>
              <a:cxn ang="0">
                <a:pos x="2851" y="275"/>
              </a:cxn>
              <a:cxn ang="0">
                <a:pos x="2778" y="292"/>
              </a:cxn>
              <a:cxn ang="0">
                <a:pos x="2695" y="308"/>
              </a:cxn>
              <a:cxn ang="0">
                <a:pos x="2599" y="324"/>
              </a:cxn>
              <a:cxn ang="0">
                <a:pos x="2490" y="338"/>
              </a:cxn>
              <a:cxn ang="0">
                <a:pos x="2374" y="352"/>
              </a:cxn>
              <a:cxn ang="0">
                <a:pos x="2246" y="362"/>
              </a:cxn>
              <a:cxn ang="0">
                <a:pos x="2108" y="371"/>
              </a:cxn>
              <a:cxn ang="0">
                <a:pos x="1964" y="380"/>
              </a:cxn>
              <a:cxn ang="0">
                <a:pos x="1813" y="385"/>
              </a:cxn>
              <a:cxn ang="0">
                <a:pos x="1655" y="390"/>
              </a:cxn>
              <a:cxn ang="0">
                <a:pos x="1329" y="390"/>
              </a:cxn>
              <a:cxn ang="0">
                <a:pos x="1171" y="385"/>
              </a:cxn>
              <a:cxn ang="0">
                <a:pos x="1019" y="380"/>
              </a:cxn>
              <a:cxn ang="0">
                <a:pos x="875" y="371"/>
              </a:cxn>
              <a:cxn ang="0">
                <a:pos x="738" y="362"/>
              </a:cxn>
              <a:cxn ang="0">
                <a:pos x="610" y="352"/>
              </a:cxn>
              <a:cxn ang="0">
                <a:pos x="494" y="338"/>
              </a:cxn>
              <a:cxn ang="0">
                <a:pos x="384" y="324"/>
              </a:cxn>
              <a:cxn ang="0">
                <a:pos x="289" y="308"/>
              </a:cxn>
              <a:cxn ang="0">
                <a:pos x="205" y="292"/>
              </a:cxn>
              <a:cxn ang="0">
                <a:pos x="133" y="275"/>
              </a:cxn>
              <a:cxn ang="0">
                <a:pos x="77" y="254"/>
              </a:cxn>
              <a:cxn ang="0">
                <a:pos x="35" y="235"/>
              </a:cxn>
              <a:cxn ang="0">
                <a:pos x="10" y="214"/>
              </a:cxn>
              <a:cxn ang="0">
                <a:pos x="0" y="193"/>
              </a:cxn>
              <a:cxn ang="0">
                <a:pos x="10" y="172"/>
              </a:cxn>
              <a:cxn ang="0">
                <a:pos x="35" y="151"/>
              </a:cxn>
              <a:cxn ang="0">
                <a:pos x="77" y="133"/>
              </a:cxn>
              <a:cxn ang="0">
                <a:pos x="133" y="114"/>
              </a:cxn>
              <a:cxn ang="0">
                <a:pos x="205" y="95"/>
              </a:cxn>
              <a:cxn ang="0">
                <a:pos x="289" y="79"/>
              </a:cxn>
              <a:cxn ang="0">
                <a:pos x="384" y="63"/>
              </a:cxn>
              <a:cxn ang="0">
                <a:pos x="494" y="49"/>
              </a:cxn>
              <a:cxn ang="0">
                <a:pos x="610" y="37"/>
              </a:cxn>
              <a:cxn ang="0">
                <a:pos x="738" y="25"/>
              </a:cxn>
              <a:cxn ang="0">
                <a:pos x="875" y="16"/>
              </a:cxn>
              <a:cxn ang="0">
                <a:pos x="1019" y="9"/>
              </a:cxn>
              <a:cxn ang="0">
                <a:pos x="1171" y="4"/>
              </a:cxn>
              <a:cxn ang="0">
                <a:pos x="1329" y="0"/>
              </a:cxn>
            </a:cxnLst>
            <a:rect l="0" t="0" r="r" b="b"/>
            <a:pathLst>
              <a:path w="2983" h="390">
                <a:moveTo>
                  <a:pt x="1329" y="0"/>
                </a:moveTo>
                <a:lnTo>
                  <a:pt x="1655" y="0"/>
                </a:lnTo>
                <a:lnTo>
                  <a:pt x="1813" y="4"/>
                </a:lnTo>
                <a:lnTo>
                  <a:pt x="1964" y="9"/>
                </a:lnTo>
                <a:lnTo>
                  <a:pt x="2108" y="16"/>
                </a:lnTo>
                <a:lnTo>
                  <a:pt x="2246" y="25"/>
                </a:lnTo>
                <a:lnTo>
                  <a:pt x="2374" y="37"/>
                </a:lnTo>
                <a:lnTo>
                  <a:pt x="2490" y="49"/>
                </a:lnTo>
                <a:lnTo>
                  <a:pt x="2599" y="63"/>
                </a:lnTo>
                <a:lnTo>
                  <a:pt x="2695" y="79"/>
                </a:lnTo>
                <a:lnTo>
                  <a:pt x="2778" y="95"/>
                </a:lnTo>
                <a:lnTo>
                  <a:pt x="2851" y="114"/>
                </a:lnTo>
                <a:lnTo>
                  <a:pt x="2906" y="133"/>
                </a:lnTo>
                <a:lnTo>
                  <a:pt x="2948" y="151"/>
                </a:lnTo>
                <a:lnTo>
                  <a:pt x="2974" y="172"/>
                </a:lnTo>
                <a:lnTo>
                  <a:pt x="2983" y="193"/>
                </a:lnTo>
                <a:lnTo>
                  <a:pt x="2974" y="214"/>
                </a:lnTo>
                <a:lnTo>
                  <a:pt x="2948" y="235"/>
                </a:lnTo>
                <a:lnTo>
                  <a:pt x="2906" y="254"/>
                </a:lnTo>
                <a:lnTo>
                  <a:pt x="2851" y="275"/>
                </a:lnTo>
                <a:lnTo>
                  <a:pt x="2778" y="292"/>
                </a:lnTo>
                <a:lnTo>
                  <a:pt x="2695" y="308"/>
                </a:lnTo>
                <a:lnTo>
                  <a:pt x="2599" y="324"/>
                </a:lnTo>
                <a:lnTo>
                  <a:pt x="2490" y="338"/>
                </a:lnTo>
                <a:lnTo>
                  <a:pt x="2374" y="352"/>
                </a:lnTo>
                <a:lnTo>
                  <a:pt x="2246" y="362"/>
                </a:lnTo>
                <a:lnTo>
                  <a:pt x="2108" y="371"/>
                </a:lnTo>
                <a:lnTo>
                  <a:pt x="1964" y="380"/>
                </a:lnTo>
                <a:lnTo>
                  <a:pt x="1813" y="385"/>
                </a:lnTo>
                <a:lnTo>
                  <a:pt x="1655" y="390"/>
                </a:lnTo>
                <a:lnTo>
                  <a:pt x="1329" y="390"/>
                </a:lnTo>
                <a:lnTo>
                  <a:pt x="1171" y="385"/>
                </a:lnTo>
                <a:lnTo>
                  <a:pt x="1019" y="380"/>
                </a:lnTo>
                <a:lnTo>
                  <a:pt x="875" y="371"/>
                </a:lnTo>
                <a:lnTo>
                  <a:pt x="738" y="362"/>
                </a:lnTo>
                <a:lnTo>
                  <a:pt x="610" y="352"/>
                </a:lnTo>
                <a:lnTo>
                  <a:pt x="494" y="338"/>
                </a:lnTo>
                <a:lnTo>
                  <a:pt x="384" y="324"/>
                </a:lnTo>
                <a:lnTo>
                  <a:pt x="289" y="308"/>
                </a:lnTo>
                <a:lnTo>
                  <a:pt x="205" y="292"/>
                </a:lnTo>
                <a:lnTo>
                  <a:pt x="133" y="275"/>
                </a:lnTo>
                <a:lnTo>
                  <a:pt x="77" y="254"/>
                </a:lnTo>
                <a:lnTo>
                  <a:pt x="35" y="235"/>
                </a:lnTo>
                <a:lnTo>
                  <a:pt x="10" y="214"/>
                </a:lnTo>
                <a:lnTo>
                  <a:pt x="0" y="193"/>
                </a:lnTo>
                <a:lnTo>
                  <a:pt x="10" y="172"/>
                </a:lnTo>
                <a:lnTo>
                  <a:pt x="35" y="151"/>
                </a:lnTo>
                <a:lnTo>
                  <a:pt x="77" y="133"/>
                </a:lnTo>
                <a:lnTo>
                  <a:pt x="133" y="114"/>
                </a:lnTo>
                <a:lnTo>
                  <a:pt x="205" y="95"/>
                </a:lnTo>
                <a:lnTo>
                  <a:pt x="289" y="79"/>
                </a:lnTo>
                <a:lnTo>
                  <a:pt x="384" y="63"/>
                </a:lnTo>
                <a:lnTo>
                  <a:pt x="494" y="49"/>
                </a:lnTo>
                <a:lnTo>
                  <a:pt x="610" y="37"/>
                </a:lnTo>
                <a:lnTo>
                  <a:pt x="738" y="25"/>
                </a:lnTo>
                <a:lnTo>
                  <a:pt x="875" y="16"/>
                </a:lnTo>
                <a:lnTo>
                  <a:pt x="1019" y="9"/>
                </a:lnTo>
                <a:lnTo>
                  <a:pt x="1171" y="4"/>
                </a:lnTo>
                <a:lnTo>
                  <a:pt x="1329"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2">
            <a:extLst>
              <a:ext uri="{FF2B5EF4-FFF2-40B4-BE49-F238E27FC236}">
                <a16:creationId xmlns:a16="http://schemas.microsoft.com/office/drawing/2014/main" id="{99B6D50A-B294-4D0F-8B1E-9B38F1A523C9}"/>
              </a:ext>
            </a:extLst>
          </p:cNvPr>
          <p:cNvSpPr>
            <a:spLocks/>
          </p:cNvSpPr>
          <p:nvPr/>
        </p:nvSpPr>
        <p:spPr bwMode="auto">
          <a:xfrm>
            <a:off x="4619918" y="3007703"/>
            <a:ext cx="2899632" cy="709187"/>
          </a:xfrm>
          <a:custGeom>
            <a:avLst/>
            <a:gdLst/>
            <a:ahLst/>
            <a:cxnLst>
              <a:cxn ang="0">
                <a:pos x="1100" y="0"/>
              </a:cxn>
              <a:cxn ang="0">
                <a:pos x="1389" y="0"/>
              </a:cxn>
              <a:cxn ang="0">
                <a:pos x="1531" y="4"/>
              </a:cxn>
              <a:cxn ang="0">
                <a:pos x="1666" y="9"/>
              </a:cxn>
              <a:cxn ang="0">
                <a:pos x="1794" y="16"/>
              </a:cxn>
              <a:cxn ang="0">
                <a:pos x="1913" y="26"/>
              </a:cxn>
              <a:cxn ang="0">
                <a:pos x="2024" y="37"/>
              </a:cxn>
              <a:cxn ang="0">
                <a:pos x="2127" y="49"/>
              </a:cxn>
              <a:cxn ang="0">
                <a:pos x="2217" y="61"/>
              </a:cxn>
              <a:cxn ang="0">
                <a:pos x="2296" y="77"/>
              </a:cxn>
              <a:cxn ang="0">
                <a:pos x="2364" y="93"/>
              </a:cxn>
              <a:cxn ang="0">
                <a:pos x="2417" y="110"/>
              </a:cxn>
              <a:cxn ang="0">
                <a:pos x="2457" y="126"/>
              </a:cxn>
              <a:cxn ang="0">
                <a:pos x="2480" y="145"/>
              </a:cxn>
              <a:cxn ang="0">
                <a:pos x="2490" y="163"/>
              </a:cxn>
              <a:cxn ang="0">
                <a:pos x="2490" y="609"/>
              </a:cxn>
              <a:cxn ang="0">
                <a:pos x="0" y="609"/>
              </a:cxn>
              <a:cxn ang="0">
                <a:pos x="0" y="163"/>
              </a:cxn>
              <a:cxn ang="0">
                <a:pos x="9" y="145"/>
              </a:cxn>
              <a:cxn ang="0">
                <a:pos x="33" y="126"/>
              </a:cxn>
              <a:cxn ang="0">
                <a:pos x="72" y="110"/>
              </a:cxn>
              <a:cxn ang="0">
                <a:pos x="126" y="93"/>
              </a:cxn>
              <a:cxn ang="0">
                <a:pos x="193" y="77"/>
              </a:cxn>
              <a:cxn ang="0">
                <a:pos x="272" y="61"/>
              </a:cxn>
              <a:cxn ang="0">
                <a:pos x="365" y="49"/>
              </a:cxn>
              <a:cxn ang="0">
                <a:pos x="465" y="37"/>
              </a:cxn>
              <a:cxn ang="0">
                <a:pos x="577" y="26"/>
              </a:cxn>
              <a:cxn ang="0">
                <a:pos x="696" y="16"/>
              </a:cxn>
              <a:cxn ang="0">
                <a:pos x="824" y="9"/>
              </a:cxn>
              <a:cxn ang="0">
                <a:pos x="959" y="4"/>
              </a:cxn>
              <a:cxn ang="0">
                <a:pos x="1100" y="0"/>
              </a:cxn>
            </a:cxnLst>
            <a:rect l="0" t="0" r="r" b="b"/>
            <a:pathLst>
              <a:path w="2490" h="609">
                <a:moveTo>
                  <a:pt x="1100" y="0"/>
                </a:moveTo>
                <a:lnTo>
                  <a:pt x="1389" y="0"/>
                </a:lnTo>
                <a:lnTo>
                  <a:pt x="1531" y="4"/>
                </a:lnTo>
                <a:lnTo>
                  <a:pt x="1666" y="9"/>
                </a:lnTo>
                <a:lnTo>
                  <a:pt x="1794" y="16"/>
                </a:lnTo>
                <a:lnTo>
                  <a:pt x="1913" y="26"/>
                </a:lnTo>
                <a:lnTo>
                  <a:pt x="2024" y="37"/>
                </a:lnTo>
                <a:lnTo>
                  <a:pt x="2127" y="49"/>
                </a:lnTo>
                <a:lnTo>
                  <a:pt x="2217" y="61"/>
                </a:lnTo>
                <a:lnTo>
                  <a:pt x="2296" y="77"/>
                </a:lnTo>
                <a:lnTo>
                  <a:pt x="2364" y="93"/>
                </a:lnTo>
                <a:lnTo>
                  <a:pt x="2417" y="110"/>
                </a:lnTo>
                <a:lnTo>
                  <a:pt x="2457" y="126"/>
                </a:lnTo>
                <a:lnTo>
                  <a:pt x="2480" y="145"/>
                </a:lnTo>
                <a:lnTo>
                  <a:pt x="2490" y="163"/>
                </a:lnTo>
                <a:lnTo>
                  <a:pt x="2490" y="609"/>
                </a:lnTo>
                <a:lnTo>
                  <a:pt x="0" y="609"/>
                </a:lnTo>
                <a:lnTo>
                  <a:pt x="0" y="163"/>
                </a:lnTo>
                <a:lnTo>
                  <a:pt x="9" y="145"/>
                </a:lnTo>
                <a:lnTo>
                  <a:pt x="33" y="126"/>
                </a:lnTo>
                <a:lnTo>
                  <a:pt x="72" y="110"/>
                </a:lnTo>
                <a:lnTo>
                  <a:pt x="126" y="93"/>
                </a:lnTo>
                <a:lnTo>
                  <a:pt x="193" y="77"/>
                </a:lnTo>
                <a:lnTo>
                  <a:pt x="272" y="61"/>
                </a:lnTo>
                <a:lnTo>
                  <a:pt x="365" y="49"/>
                </a:lnTo>
                <a:lnTo>
                  <a:pt x="465" y="37"/>
                </a:lnTo>
                <a:lnTo>
                  <a:pt x="577" y="26"/>
                </a:lnTo>
                <a:lnTo>
                  <a:pt x="696" y="16"/>
                </a:lnTo>
                <a:lnTo>
                  <a:pt x="824" y="9"/>
                </a:lnTo>
                <a:lnTo>
                  <a:pt x="959" y="4"/>
                </a:lnTo>
                <a:lnTo>
                  <a:pt x="1100"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3">
            <a:extLst>
              <a:ext uri="{FF2B5EF4-FFF2-40B4-BE49-F238E27FC236}">
                <a16:creationId xmlns:a16="http://schemas.microsoft.com/office/drawing/2014/main" id="{0C1E9E94-3187-4E28-A3E8-6D938E1E36FC}"/>
              </a:ext>
            </a:extLst>
          </p:cNvPr>
          <p:cNvSpPr>
            <a:spLocks/>
          </p:cNvSpPr>
          <p:nvPr/>
        </p:nvSpPr>
        <p:spPr bwMode="auto">
          <a:xfrm>
            <a:off x="4619918" y="3527075"/>
            <a:ext cx="2899632" cy="377302"/>
          </a:xfrm>
          <a:custGeom>
            <a:avLst/>
            <a:gdLst/>
            <a:ahLst/>
            <a:cxnLst>
              <a:cxn ang="0">
                <a:pos x="1100" y="0"/>
              </a:cxn>
              <a:cxn ang="0">
                <a:pos x="1389" y="0"/>
              </a:cxn>
              <a:cxn ang="0">
                <a:pos x="1531" y="4"/>
              </a:cxn>
              <a:cxn ang="0">
                <a:pos x="1666" y="9"/>
              </a:cxn>
              <a:cxn ang="0">
                <a:pos x="1794" y="16"/>
              </a:cxn>
              <a:cxn ang="0">
                <a:pos x="1913" y="25"/>
              </a:cxn>
              <a:cxn ang="0">
                <a:pos x="2024" y="35"/>
              </a:cxn>
              <a:cxn ang="0">
                <a:pos x="2127" y="46"/>
              </a:cxn>
              <a:cxn ang="0">
                <a:pos x="2217" y="61"/>
              </a:cxn>
              <a:cxn ang="0">
                <a:pos x="2296" y="75"/>
              </a:cxn>
              <a:cxn ang="0">
                <a:pos x="2364" y="91"/>
              </a:cxn>
              <a:cxn ang="0">
                <a:pos x="2417" y="107"/>
              </a:cxn>
              <a:cxn ang="0">
                <a:pos x="2457" y="126"/>
              </a:cxn>
              <a:cxn ang="0">
                <a:pos x="2480" y="145"/>
              </a:cxn>
              <a:cxn ang="0">
                <a:pos x="2490" y="163"/>
              </a:cxn>
              <a:cxn ang="0">
                <a:pos x="2480" y="182"/>
              </a:cxn>
              <a:cxn ang="0">
                <a:pos x="2457" y="201"/>
              </a:cxn>
              <a:cxn ang="0">
                <a:pos x="2417" y="217"/>
              </a:cxn>
              <a:cxn ang="0">
                <a:pos x="2364" y="233"/>
              </a:cxn>
              <a:cxn ang="0">
                <a:pos x="2296" y="250"/>
              </a:cxn>
              <a:cxn ang="0">
                <a:pos x="2217" y="264"/>
              </a:cxn>
              <a:cxn ang="0">
                <a:pos x="2127" y="278"/>
              </a:cxn>
              <a:cxn ang="0">
                <a:pos x="2024" y="289"/>
              </a:cxn>
              <a:cxn ang="0">
                <a:pos x="1913" y="299"/>
              </a:cxn>
              <a:cxn ang="0">
                <a:pos x="1794" y="308"/>
              </a:cxn>
              <a:cxn ang="0">
                <a:pos x="1666" y="315"/>
              </a:cxn>
              <a:cxn ang="0">
                <a:pos x="1531" y="320"/>
              </a:cxn>
              <a:cxn ang="0">
                <a:pos x="1389" y="324"/>
              </a:cxn>
              <a:cxn ang="0">
                <a:pos x="1100" y="324"/>
              </a:cxn>
              <a:cxn ang="0">
                <a:pos x="959" y="320"/>
              </a:cxn>
              <a:cxn ang="0">
                <a:pos x="824" y="315"/>
              </a:cxn>
              <a:cxn ang="0">
                <a:pos x="696" y="308"/>
              </a:cxn>
              <a:cxn ang="0">
                <a:pos x="577" y="299"/>
              </a:cxn>
              <a:cxn ang="0">
                <a:pos x="465" y="289"/>
              </a:cxn>
              <a:cxn ang="0">
                <a:pos x="365" y="278"/>
              </a:cxn>
              <a:cxn ang="0">
                <a:pos x="272" y="264"/>
              </a:cxn>
              <a:cxn ang="0">
                <a:pos x="193" y="250"/>
              </a:cxn>
              <a:cxn ang="0">
                <a:pos x="126" y="233"/>
              </a:cxn>
              <a:cxn ang="0">
                <a:pos x="72" y="217"/>
              </a:cxn>
              <a:cxn ang="0">
                <a:pos x="33" y="201"/>
              </a:cxn>
              <a:cxn ang="0">
                <a:pos x="9" y="182"/>
              </a:cxn>
              <a:cxn ang="0">
                <a:pos x="0" y="163"/>
              </a:cxn>
              <a:cxn ang="0">
                <a:pos x="9" y="145"/>
              </a:cxn>
              <a:cxn ang="0">
                <a:pos x="33" y="126"/>
              </a:cxn>
              <a:cxn ang="0">
                <a:pos x="72" y="107"/>
              </a:cxn>
              <a:cxn ang="0">
                <a:pos x="126" y="91"/>
              </a:cxn>
              <a:cxn ang="0">
                <a:pos x="193" y="75"/>
              </a:cxn>
              <a:cxn ang="0">
                <a:pos x="272" y="61"/>
              </a:cxn>
              <a:cxn ang="0">
                <a:pos x="365" y="46"/>
              </a:cxn>
              <a:cxn ang="0">
                <a:pos x="465" y="35"/>
              </a:cxn>
              <a:cxn ang="0">
                <a:pos x="577" y="25"/>
              </a:cxn>
              <a:cxn ang="0">
                <a:pos x="696" y="16"/>
              </a:cxn>
              <a:cxn ang="0">
                <a:pos x="824" y="9"/>
              </a:cxn>
              <a:cxn ang="0">
                <a:pos x="959" y="4"/>
              </a:cxn>
              <a:cxn ang="0">
                <a:pos x="1100" y="0"/>
              </a:cxn>
            </a:cxnLst>
            <a:rect l="0" t="0" r="r" b="b"/>
            <a:pathLst>
              <a:path w="2490" h="324">
                <a:moveTo>
                  <a:pt x="1100" y="0"/>
                </a:moveTo>
                <a:lnTo>
                  <a:pt x="1389" y="0"/>
                </a:lnTo>
                <a:lnTo>
                  <a:pt x="1531" y="4"/>
                </a:lnTo>
                <a:lnTo>
                  <a:pt x="1666" y="9"/>
                </a:lnTo>
                <a:lnTo>
                  <a:pt x="1794" y="16"/>
                </a:lnTo>
                <a:lnTo>
                  <a:pt x="1913" y="25"/>
                </a:lnTo>
                <a:lnTo>
                  <a:pt x="2024" y="35"/>
                </a:lnTo>
                <a:lnTo>
                  <a:pt x="2127" y="46"/>
                </a:lnTo>
                <a:lnTo>
                  <a:pt x="2217" y="61"/>
                </a:lnTo>
                <a:lnTo>
                  <a:pt x="2296" y="75"/>
                </a:lnTo>
                <a:lnTo>
                  <a:pt x="2364" y="91"/>
                </a:lnTo>
                <a:lnTo>
                  <a:pt x="2417" y="107"/>
                </a:lnTo>
                <a:lnTo>
                  <a:pt x="2457" y="126"/>
                </a:lnTo>
                <a:lnTo>
                  <a:pt x="2480" y="145"/>
                </a:lnTo>
                <a:lnTo>
                  <a:pt x="2490" y="163"/>
                </a:lnTo>
                <a:lnTo>
                  <a:pt x="2480" y="182"/>
                </a:lnTo>
                <a:lnTo>
                  <a:pt x="2457" y="201"/>
                </a:lnTo>
                <a:lnTo>
                  <a:pt x="2417" y="217"/>
                </a:lnTo>
                <a:lnTo>
                  <a:pt x="2364" y="233"/>
                </a:lnTo>
                <a:lnTo>
                  <a:pt x="2296" y="250"/>
                </a:lnTo>
                <a:lnTo>
                  <a:pt x="2217" y="264"/>
                </a:lnTo>
                <a:lnTo>
                  <a:pt x="2127" y="278"/>
                </a:lnTo>
                <a:lnTo>
                  <a:pt x="2024" y="289"/>
                </a:lnTo>
                <a:lnTo>
                  <a:pt x="1913" y="299"/>
                </a:lnTo>
                <a:lnTo>
                  <a:pt x="1794" y="308"/>
                </a:lnTo>
                <a:lnTo>
                  <a:pt x="1666" y="315"/>
                </a:lnTo>
                <a:lnTo>
                  <a:pt x="1531" y="320"/>
                </a:lnTo>
                <a:lnTo>
                  <a:pt x="1389" y="324"/>
                </a:lnTo>
                <a:lnTo>
                  <a:pt x="1100" y="324"/>
                </a:lnTo>
                <a:lnTo>
                  <a:pt x="959" y="320"/>
                </a:lnTo>
                <a:lnTo>
                  <a:pt x="824" y="315"/>
                </a:lnTo>
                <a:lnTo>
                  <a:pt x="696" y="308"/>
                </a:lnTo>
                <a:lnTo>
                  <a:pt x="577" y="299"/>
                </a:lnTo>
                <a:lnTo>
                  <a:pt x="465" y="289"/>
                </a:lnTo>
                <a:lnTo>
                  <a:pt x="365" y="278"/>
                </a:lnTo>
                <a:lnTo>
                  <a:pt x="272" y="264"/>
                </a:lnTo>
                <a:lnTo>
                  <a:pt x="193" y="250"/>
                </a:lnTo>
                <a:lnTo>
                  <a:pt x="126" y="233"/>
                </a:lnTo>
                <a:lnTo>
                  <a:pt x="72" y="217"/>
                </a:lnTo>
                <a:lnTo>
                  <a:pt x="33" y="201"/>
                </a:lnTo>
                <a:lnTo>
                  <a:pt x="9" y="182"/>
                </a:lnTo>
                <a:lnTo>
                  <a:pt x="0" y="163"/>
                </a:lnTo>
                <a:lnTo>
                  <a:pt x="9" y="145"/>
                </a:lnTo>
                <a:lnTo>
                  <a:pt x="33" y="126"/>
                </a:lnTo>
                <a:lnTo>
                  <a:pt x="72" y="107"/>
                </a:lnTo>
                <a:lnTo>
                  <a:pt x="126" y="91"/>
                </a:lnTo>
                <a:lnTo>
                  <a:pt x="193" y="75"/>
                </a:lnTo>
                <a:lnTo>
                  <a:pt x="272" y="61"/>
                </a:lnTo>
                <a:lnTo>
                  <a:pt x="365" y="46"/>
                </a:lnTo>
                <a:lnTo>
                  <a:pt x="465" y="35"/>
                </a:lnTo>
                <a:lnTo>
                  <a:pt x="577" y="25"/>
                </a:lnTo>
                <a:lnTo>
                  <a:pt x="696" y="16"/>
                </a:lnTo>
                <a:lnTo>
                  <a:pt x="824" y="9"/>
                </a:lnTo>
                <a:lnTo>
                  <a:pt x="959" y="4"/>
                </a:lnTo>
                <a:lnTo>
                  <a:pt x="1100"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4">
            <a:extLst>
              <a:ext uri="{FF2B5EF4-FFF2-40B4-BE49-F238E27FC236}">
                <a16:creationId xmlns:a16="http://schemas.microsoft.com/office/drawing/2014/main" id="{DF8F2D9C-C6D5-420E-A6CA-DABA3F278C41}"/>
              </a:ext>
            </a:extLst>
          </p:cNvPr>
          <p:cNvSpPr>
            <a:spLocks/>
          </p:cNvSpPr>
          <p:nvPr/>
        </p:nvSpPr>
        <p:spPr bwMode="auto">
          <a:xfrm>
            <a:off x="4874946" y="3779773"/>
            <a:ext cx="2389576" cy="671924"/>
          </a:xfrm>
          <a:custGeom>
            <a:avLst/>
            <a:gdLst/>
            <a:ahLst/>
            <a:cxnLst>
              <a:cxn ang="0">
                <a:pos x="898" y="0"/>
              </a:cxn>
              <a:cxn ang="0">
                <a:pos x="1154" y="0"/>
              </a:cxn>
              <a:cxn ang="0">
                <a:pos x="1279" y="5"/>
              </a:cxn>
              <a:cxn ang="0">
                <a:pos x="1398" y="9"/>
              </a:cxn>
              <a:cxn ang="0">
                <a:pos x="1510" y="16"/>
              </a:cxn>
              <a:cxn ang="0">
                <a:pos x="1612" y="23"/>
              </a:cxn>
              <a:cxn ang="0">
                <a:pos x="1707" y="35"/>
              </a:cxn>
              <a:cxn ang="0">
                <a:pos x="1794" y="44"/>
              </a:cxn>
              <a:cxn ang="0">
                <a:pos x="1868" y="58"/>
              </a:cxn>
              <a:cxn ang="0">
                <a:pos x="1931" y="72"/>
              </a:cxn>
              <a:cxn ang="0">
                <a:pos x="1982" y="86"/>
              </a:cxn>
              <a:cxn ang="0">
                <a:pos x="2022" y="103"/>
              </a:cxn>
              <a:cxn ang="0">
                <a:pos x="2045" y="119"/>
              </a:cxn>
              <a:cxn ang="0">
                <a:pos x="2052" y="135"/>
              </a:cxn>
              <a:cxn ang="0">
                <a:pos x="2052" y="577"/>
              </a:cxn>
              <a:cxn ang="0">
                <a:pos x="0" y="577"/>
              </a:cxn>
              <a:cxn ang="0">
                <a:pos x="0" y="135"/>
              </a:cxn>
              <a:cxn ang="0">
                <a:pos x="7" y="119"/>
              </a:cxn>
              <a:cxn ang="0">
                <a:pos x="30" y="103"/>
              </a:cxn>
              <a:cxn ang="0">
                <a:pos x="69" y="86"/>
              </a:cxn>
              <a:cxn ang="0">
                <a:pos x="121" y="72"/>
              </a:cxn>
              <a:cxn ang="0">
                <a:pos x="183" y="58"/>
              </a:cxn>
              <a:cxn ang="0">
                <a:pos x="258" y="44"/>
              </a:cxn>
              <a:cxn ang="0">
                <a:pos x="344" y="35"/>
              </a:cxn>
              <a:cxn ang="0">
                <a:pos x="439" y="23"/>
              </a:cxn>
              <a:cxn ang="0">
                <a:pos x="542" y="16"/>
              </a:cxn>
              <a:cxn ang="0">
                <a:pos x="653" y="9"/>
              </a:cxn>
              <a:cxn ang="0">
                <a:pos x="772" y="5"/>
              </a:cxn>
              <a:cxn ang="0">
                <a:pos x="898" y="0"/>
              </a:cxn>
            </a:cxnLst>
            <a:rect l="0" t="0" r="r" b="b"/>
            <a:pathLst>
              <a:path w="2052" h="577">
                <a:moveTo>
                  <a:pt x="898" y="0"/>
                </a:moveTo>
                <a:lnTo>
                  <a:pt x="1154" y="0"/>
                </a:lnTo>
                <a:lnTo>
                  <a:pt x="1279" y="5"/>
                </a:lnTo>
                <a:lnTo>
                  <a:pt x="1398" y="9"/>
                </a:lnTo>
                <a:lnTo>
                  <a:pt x="1510" y="16"/>
                </a:lnTo>
                <a:lnTo>
                  <a:pt x="1612" y="23"/>
                </a:lnTo>
                <a:lnTo>
                  <a:pt x="1707" y="35"/>
                </a:lnTo>
                <a:lnTo>
                  <a:pt x="1794" y="44"/>
                </a:lnTo>
                <a:lnTo>
                  <a:pt x="1868" y="58"/>
                </a:lnTo>
                <a:lnTo>
                  <a:pt x="1931" y="72"/>
                </a:lnTo>
                <a:lnTo>
                  <a:pt x="1982" y="86"/>
                </a:lnTo>
                <a:lnTo>
                  <a:pt x="2022" y="103"/>
                </a:lnTo>
                <a:lnTo>
                  <a:pt x="2045" y="119"/>
                </a:lnTo>
                <a:lnTo>
                  <a:pt x="2052" y="135"/>
                </a:lnTo>
                <a:lnTo>
                  <a:pt x="2052" y="577"/>
                </a:lnTo>
                <a:lnTo>
                  <a:pt x="0" y="577"/>
                </a:lnTo>
                <a:lnTo>
                  <a:pt x="0" y="135"/>
                </a:lnTo>
                <a:lnTo>
                  <a:pt x="7" y="119"/>
                </a:lnTo>
                <a:lnTo>
                  <a:pt x="30" y="103"/>
                </a:lnTo>
                <a:lnTo>
                  <a:pt x="69" y="86"/>
                </a:lnTo>
                <a:lnTo>
                  <a:pt x="121" y="72"/>
                </a:lnTo>
                <a:lnTo>
                  <a:pt x="183" y="58"/>
                </a:lnTo>
                <a:lnTo>
                  <a:pt x="258" y="44"/>
                </a:lnTo>
                <a:lnTo>
                  <a:pt x="344" y="35"/>
                </a:lnTo>
                <a:lnTo>
                  <a:pt x="439" y="23"/>
                </a:lnTo>
                <a:lnTo>
                  <a:pt x="542" y="16"/>
                </a:lnTo>
                <a:lnTo>
                  <a:pt x="653" y="9"/>
                </a:lnTo>
                <a:lnTo>
                  <a:pt x="772" y="5"/>
                </a:lnTo>
                <a:lnTo>
                  <a:pt x="898" y="0"/>
                </a:lnTo>
                <a:close/>
              </a:path>
            </a:pathLst>
          </a:custGeom>
          <a:solidFill>
            <a:schemeClr val="tx2">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5">
            <a:extLst>
              <a:ext uri="{FF2B5EF4-FFF2-40B4-BE49-F238E27FC236}">
                <a16:creationId xmlns:a16="http://schemas.microsoft.com/office/drawing/2014/main" id="{8B5BE61E-CDDB-4AE1-9944-013194E926A4}"/>
              </a:ext>
            </a:extLst>
          </p:cNvPr>
          <p:cNvSpPr>
            <a:spLocks/>
          </p:cNvSpPr>
          <p:nvPr/>
        </p:nvSpPr>
        <p:spPr bwMode="auto">
          <a:xfrm>
            <a:off x="4874946" y="4293323"/>
            <a:ext cx="2389576" cy="313253"/>
          </a:xfrm>
          <a:custGeom>
            <a:avLst/>
            <a:gdLst/>
            <a:ahLst/>
            <a:cxnLst>
              <a:cxn ang="0">
                <a:pos x="898" y="0"/>
              </a:cxn>
              <a:cxn ang="0">
                <a:pos x="1154" y="0"/>
              </a:cxn>
              <a:cxn ang="0">
                <a:pos x="1279" y="5"/>
              </a:cxn>
              <a:cxn ang="0">
                <a:pos x="1398" y="10"/>
              </a:cxn>
              <a:cxn ang="0">
                <a:pos x="1510" y="17"/>
              </a:cxn>
              <a:cxn ang="0">
                <a:pos x="1612" y="24"/>
              </a:cxn>
              <a:cxn ang="0">
                <a:pos x="1707" y="35"/>
              </a:cxn>
              <a:cxn ang="0">
                <a:pos x="1794" y="45"/>
              </a:cxn>
              <a:cxn ang="0">
                <a:pos x="1868" y="59"/>
              </a:cxn>
              <a:cxn ang="0">
                <a:pos x="1931" y="73"/>
              </a:cxn>
              <a:cxn ang="0">
                <a:pos x="1982" y="87"/>
              </a:cxn>
              <a:cxn ang="0">
                <a:pos x="2022" y="103"/>
              </a:cxn>
              <a:cxn ang="0">
                <a:pos x="2045" y="119"/>
              </a:cxn>
              <a:cxn ang="0">
                <a:pos x="2052" y="136"/>
              </a:cxn>
              <a:cxn ang="0">
                <a:pos x="2045" y="152"/>
              </a:cxn>
              <a:cxn ang="0">
                <a:pos x="2022" y="168"/>
              </a:cxn>
              <a:cxn ang="0">
                <a:pos x="1982" y="182"/>
              </a:cxn>
              <a:cxn ang="0">
                <a:pos x="1931" y="199"/>
              </a:cxn>
              <a:cxn ang="0">
                <a:pos x="1868" y="210"/>
              </a:cxn>
              <a:cxn ang="0">
                <a:pos x="1794" y="224"/>
              </a:cxn>
              <a:cxn ang="0">
                <a:pos x="1707" y="234"/>
              </a:cxn>
              <a:cxn ang="0">
                <a:pos x="1612" y="245"/>
              </a:cxn>
              <a:cxn ang="0">
                <a:pos x="1510" y="252"/>
              </a:cxn>
              <a:cxn ang="0">
                <a:pos x="1398" y="259"/>
              </a:cxn>
              <a:cxn ang="0">
                <a:pos x="1279" y="264"/>
              </a:cxn>
              <a:cxn ang="0">
                <a:pos x="1154" y="269"/>
              </a:cxn>
              <a:cxn ang="0">
                <a:pos x="898" y="269"/>
              </a:cxn>
              <a:cxn ang="0">
                <a:pos x="772" y="264"/>
              </a:cxn>
              <a:cxn ang="0">
                <a:pos x="653" y="259"/>
              </a:cxn>
              <a:cxn ang="0">
                <a:pos x="542" y="252"/>
              </a:cxn>
              <a:cxn ang="0">
                <a:pos x="439" y="245"/>
              </a:cxn>
              <a:cxn ang="0">
                <a:pos x="344" y="234"/>
              </a:cxn>
              <a:cxn ang="0">
                <a:pos x="258" y="224"/>
              </a:cxn>
              <a:cxn ang="0">
                <a:pos x="183" y="210"/>
              </a:cxn>
              <a:cxn ang="0">
                <a:pos x="121" y="199"/>
              </a:cxn>
              <a:cxn ang="0">
                <a:pos x="69" y="182"/>
              </a:cxn>
              <a:cxn ang="0">
                <a:pos x="30" y="168"/>
              </a:cxn>
              <a:cxn ang="0">
                <a:pos x="7" y="152"/>
              </a:cxn>
              <a:cxn ang="0">
                <a:pos x="0" y="136"/>
              </a:cxn>
              <a:cxn ang="0">
                <a:pos x="7" y="119"/>
              </a:cxn>
              <a:cxn ang="0">
                <a:pos x="30" y="103"/>
              </a:cxn>
              <a:cxn ang="0">
                <a:pos x="69" y="87"/>
              </a:cxn>
              <a:cxn ang="0">
                <a:pos x="121" y="73"/>
              </a:cxn>
              <a:cxn ang="0">
                <a:pos x="183" y="59"/>
              </a:cxn>
              <a:cxn ang="0">
                <a:pos x="258" y="45"/>
              </a:cxn>
              <a:cxn ang="0">
                <a:pos x="344" y="35"/>
              </a:cxn>
              <a:cxn ang="0">
                <a:pos x="439" y="24"/>
              </a:cxn>
              <a:cxn ang="0">
                <a:pos x="542" y="17"/>
              </a:cxn>
              <a:cxn ang="0">
                <a:pos x="653" y="10"/>
              </a:cxn>
              <a:cxn ang="0">
                <a:pos x="772" y="5"/>
              </a:cxn>
              <a:cxn ang="0">
                <a:pos x="898" y="0"/>
              </a:cxn>
            </a:cxnLst>
            <a:rect l="0" t="0" r="r" b="b"/>
            <a:pathLst>
              <a:path w="2052" h="269">
                <a:moveTo>
                  <a:pt x="898" y="0"/>
                </a:moveTo>
                <a:lnTo>
                  <a:pt x="1154" y="0"/>
                </a:lnTo>
                <a:lnTo>
                  <a:pt x="1279" y="5"/>
                </a:lnTo>
                <a:lnTo>
                  <a:pt x="1398" y="10"/>
                </a:lnTo>
                <a:lnTo>
                  <a:pt x="1510" y="17"/>
                </a:lnTo>
                <a:lnTo>
                  <a:pt x="1612" y="24"/>
                </a:lnTo>
                <a:lnTo>
                  <a:pt x="1707" y="35"/>
                </a:lnTo>
                <a:lnTo>
                  <a:pt x="1794" y="45"/>
                </a:lnTo>
                <a:lnTo>
                  <a:pt x="1868" y="59"/>
                </a:lnTo>
                <a:lnTo>
                  <a:pt x="1931" y="73"/>
                </a:lnTo>
                <a:lnTo>
                  <a:pt x="1982" y="87"/>
                </a:lnTo>
                <a:lnTo>
                  <a:pt x="2022" y="103"/>
                </a:lnTo>
                <a:lnTo>
                  <a:pt x="2045" y="119"/>
                </a:lnTo>
                <a:lnTo>
                  <a:pt x="2052" y="136"/>
                </a:lnTo>
                <a:lnTo>
                  <a:pt x="2045" y="152"/>
                </a:lnTo>
                <a:lnTo>
                  <a:pt x="2022" y="168"/>
                </a:lnTo>
                <a:lnTo>
                  <a:pt x="1982" y="182"/>
                </a:lnTo>
                <a:lnTo>
                  <a:pt x="1931" y="199"/>
                </a:lnTo>
                <a:lnTo>
                  <a:pt x="1868" y="210"/>
                </a:lnTo>
                <a:lnTo>
                  <a:pt x="1794" y="224"/>
                </a:lnTo>
                <a:lnTo>
                  <a:pt x="1707" y="234"/>
                </a:lnTo>
                <a:lnTo>
                  <a:pt x="1612" y="245"/>
                </a:lnTo>
                <a:lnTo>
                  <a:pt x="1510" y="252"/>
                </a:lnTo>
                <a:lnTo>
                  <a:pt x="1398" y="259"/>
                </a:lnTo>
                <a:lnTo>
                  <a:pt x="1279" y="264"/>
                </a:lnTo>
                <a:lnTo>
                  <a:pt x="1154" y="269"/>
                </a:lnTo>
                <a:lnTo>
                  <a:pt x="898" y="269"/>
                </a:lnTo>
                <a:lnTo>
                  <a:pt x="772" y="264"/>
                </a:lnTo>
                <a:lnTo>
                  <a:pt x="653" y="259"/>
                </a:lnTo>
                <a:lnTo>
                  <a:pt x="542" y="252"/>
                </a:lnTo>
                <a:lnTo>
                  <a:pt x="439" y="245"/>
                </a:lnTo>
                <a:lnTo>
                  <a:pt x="344" y="234"/>
                </a:lnTo>
                <a:lnTo>
                  <a:pt x="258" y="224"/>
                </a:lnTo>
                <a:lnTo>
                  <a:pt x="183" y="210"/>
                </a:lnTo>
                <a:lnTo>
                  <a:pt x="121" y="199"/>
                </a:lnTo>
                <a:lnTo>
                  <a:pt x="69" y="182"/>
                </a:lnTo>
                <a:lnTo>
                  <a:pt x="30" y="168"/>
                </a:lnTo>
                <a:lnTo>
                  <a:pt x="7" y="152"/>
                </a:lnTo>
                <a:lnTo>
                  <a:pt x="0" y="136"/>
                </a:lnTo>
                <a:lnTo>
                  <a:pt x="7" y="119"/>
                </a:lnTo>
                <a:lnTo>
                  <a:pt x="30" y="103"/>
                </a:lnTo>
                <a:lnTo>
                  <a:pt x="69" y="87"/>
                </a:lnTo>
                <a:lnTo>
                  <a:pt x="121" y="73"/>
                </a:lnTo>
                <a:lnTo>
                  <a:pt x="183" y="59"/>
                </a:lnTo>
                <a:lnTo>
                  <a:pt x="258" y="45"/>
                </a:lnTo>
                <a:lnTo>
                  <a:pt x="344" y="35"/>
                </a:lnTo>
                <a:lnTo>
                  <a:pt x="439" y="24"/>
                </a:lnTo>
                <a:lnTo>
                  <a:pt x="542" y="17"/>
                </a:lnTo>
                <a:lnTo>
                  <a:pt x="653" y="10"/>
                </a:lnTo>
                <a:lnTo>
                  <a:pt x="772" y="5"/>
                </a:lnTo>
                <a:lnTo>
                  <a:pt x="898"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6">
            <a:extLst>
              <a:ext uri="{FF2B5EF4-FFF2-40B4-BE49-F238E27FC236}">
                <a16:creationId xmlns:a16="http://schemas.microsoft.com/office/drawing/2014/main" id="{2B937D59-C264-4807-919D-50F2812E1036}"/>
              </a:ext>
            </a:extLst>
          </p:cNvPr>
          <p:cNvSpPr>
            <a:spLocks/>
          </p:cNvSpPr>
          <p:nvPr/>
        </p:nvSpPr>
        <p:spPr bwMode="auto">
          <a:xfrm>
            <a:off x="5091545" y="4505264"/>
            <a:ext cx="1931923" cy="631166"/>
          </a:xfrm>
          <a:custGeom>
            <a:avLst/>
            <a:gdLst/>
            <a:ahLst/>
            <a:cxnLst>
              <a:cxn ang="0">
                <a:pos x="719" y="0"/>
              </a:cxn>
              <a:cxn ang="0">
                <a:pos x="942" y="0"/>
              </a:cxn>
              <a:cxn ang="0">
                <a:pos x="1051" y="5"/>
              </a:cxn>
              <a:cxn ang="0">
                <a:pos x="1154" y="10"/>
              </a:cxn>
              <a:cxn ang="0">
                <a:pos x="1249" y="14"/>
              </a:cxn>
              <a:cxn ang="0">
                <a:pos x="1338" y="24"/>
              </a:cxn>
              <a:cxn ang="0">
                <a:pos x="1417" y="33"/>
              </a:cxn>
              <a:cxn ang="0">
                <a:pos x="1487" y="42"/>
              </a:cxn>
              <a:cxn ang="0">
                <a:pos x="1545" y="54"/>
              </a:cxn>
              <a:cxn ang="0">
                <a:pos x="1594" y="66"/>
              </a:cxn>
              <a:cxn ang="0">
                <a:pos x="1628" y="80"/>
              </a:cxn>
              <a:cxn ang="0">
                <a:pos x="1652" y="94"/>
              </a:cxn>
              <a:cxn ang="0">
                <a:pos x="1659" y="108"/>
              </a:cxn>
              <a:cxn ang="0">
                <a:pos x="1659" y="542"/>
              </a:cxn>
              <a:cxn ang="0">
                <a:pos x="0" y="542"/>
              </a:cxn>
              <a:cxn ang="0">
                <a:pos x="0" y="108"/>
              </a:cxn>
              <a:cxn ang="0">
                <a:pos x="7" y="94"/>
              </a:cxn>
              <a:cxn ang="0">
                <a:pos x="30" y="80"/>
              </a:cxn>
              <a:cxn ang="0">
                <a:pos x="65" y="66"/>
              </a:cxn>
              <a:cxn ang="0">
                <a:pos x="114" y="54"/>
              </a:cxn>
              <a:cxn ang="0">
                <a:pos x="172" y="42"/>
              </a:cxn>
              <a:cxn ang="0">
                <a:pos x="244" y="33"/>
              </a:cxn>
              <a:cxn ang="0">
                <a:pos x="323" y="24"/>
              </a:cxn>
              <a:cxn ang="0">
                <a:pos x="412" y="14"/>
              </a:cxn>
              <a:cxn ang="0">
                <a:pos x="507" y="10"/>
              </a:cxn>
              <a:cxn ang="0">
                <a:pos x="609" y="5"/>
              </a:cxn>
              <a:cxn ang="0">
                <a:pos x="719" y="0"/>
              </a:cxn>
            </a:cxnLst>
            <a:rect l="0" t="0" r="r" b="b"/>
            <a:pathLst>
              <a:path w="1659" h="542">
                <a:moveTo>
                  <a:pt x="719" y="0"/>
                </a:moveTo>
                <a:lnTo>
                  <a:pt x="942" y="0"/>
                </a:lnTo>
                <a:lnTo>
                  <a:pt x="1051" y="5"/>
                </a:lnTo>
                <a:lnTo>
                  <a:pt x="1154" y="10"/>
                </a:lnTo>
                <a:lnTo>
                  <a:pt x="1249" y="14"/>
                </a:lnTo>
                <a:lnTo>
                  <a:pt x="1338" y="24"/>
                </a:lnTo>
                <a:lnTo>
                  <a:pt x="1417" y="33"/>
                </a:lnTo>
                <a:lnTo>
                  <a:pt x="1487" y="42"/>
                </a:lnTo>
                <a:lnTo>
                  <a:pt x="1545" y="54"/>
                </a:lnTo>
                <a:lnTo>
                  <a:pt x="1594" y="66"/>
                </a:lnTo>
                <a:lnTo>
                  <a:pt x="1628" y="80"/>
                </a:lnTo>
                <a:lnTo>
                  <a:pt x="1652" y="94"/>
                </a:lnTo>
                <a:lnTo>
                  <a:pt x="1659" y="108"/>
                </a:lnTo>
                <a:lnTo>
                  <a:pt x="1659" y="542"/>
                </a:lnTo>
                <a:lnTo>
                  <a:pt x="0" y="542"/>
                </a:lnTo>
                <a:lnTo>
                  <a:pt x="0" y="108"/>
                </a:lnTo>
                <a:lnTo>
                  <a:pt x="7" y="94"/>
                </a:lnTo>
                <a:lnTo>
                  <a:pt x="30" y="80"/>
                </a:lnTo>
                <a:lnTo>
                  <a:pt x="65" y="66"/>
                </a:lnTo>
                <a:lnTo>
                  <a:pt x="114" y="54"/>
                </a:lnTo>
                <a:lnTo>
                  <a:pt x="172" y="42"/>
                </a:lnTo>
                <a:lnTo>
                  <a:pt x="244" y="33"/>
                </a:lnTo>
                <a:lnTo>
                  <a:pt x="323" y="24"/>
                </a:lnTo>
                <a:lnTo>
                  <a:pt x="412" y="14"/>
                </a:lnTo>
                <a:lnTo>
                  <a:pt x="507" y="10"/>
                </a:lnTo>
                <a:lnTo>
                  <a:pt x="609" y="5"/>
                </a:lnTo>
                <a:lnTo>
                  <a:pt x="719" y="0"/>
                </a:ln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7">
            <a:extLst>
              <a:ext uri="{FF2B5EF4-FFF2-40B4-BE49-F238E27FC236}">
                <a16:creationId xmlns:a16="http://schemas.microsoft.com/office/drawing/2014/main" id="{481A89CF-0D73-491D-8282-F8F0DCC1BB60}"/>
              </a:ext>
            </a:extLst>
          </p:cNvPr>
          <p:cNvSpPr>
            <a:spLocks/>
          </p:cNvSpPr>
          <p:nvPr/>
        </p:nvSpPr>
        <p:spPr bwMode="auto">
          <a:xfrm>
            <a:off x="5091545" y="5008333"/>
            <a:ext cx="1931923" cy="256193"/>
          </a:xfrm>
          <a:custGeom>
            <a:avLst/>
            <a:gdLst/>
            <a:ahLst/>
            <a:cxnLst>
              <a:cxn ang="0">
                <a:pos x="719" y="0"/>
              </a:cxn>
              <a:cxn ang="0">
                <a:pos x="942" y="0"/>
              </a:cxn>
              <a:cxn ang="0">
                <a:pos x="1051" y="5"/>
              </a:cxn>
              <a:cxn ang="0">
                <a:pos x="1154" y="10"/>
              </a:cxn>
              <a:cxn ang="0">
                <a:pos x="1249" y="14"/>
              </a:cxn>
              <a:cxn ang="0">
                <a:pos x="1338" y="24"/>
              </a:cxn>
              <a:cxn ang="0">
                <a:pos x="1417" y="33"/>
              </a:cxn>
              <a:cxn ang="0">
                <a:pos x="1487" y="42"/>
              </a:cxn>
              <a:cxn ang="0">
                <a:pos x="1545" y="54"/>
              </a:cxn>
              <a:cxn ang="0">
                <a:pos x="1594" y="68"/>
              </a:cxn>
              <a:cxn ang="0">
                <a:pos x="1628" y="80"/>
              </a:cxn>
              <a:cxn ang="0">
                <a:pos x="1652" y="96"/>
              </a:cxn>
              <a:cxn ang="0">
                <a:pos x="1659" y="110"/>
              </a:cxn>
              <a:cxn ang="0">
                <a:pos x="1652" y="124"/>
              </a:cxn>
              <a:cxn ang="0">
                <a:pos x="1628" y="140"/>
              </a:cxn>
              <a:cxn ang="0">
                <a:pos x="1594" y="152"/>
              </a:cxn>
              <a:cxn ang="0">
                <a:pos x="1545" y="166"/>
              </a:cxn>
              <a:cxn ang="0">
                <a:pos x="1487" y="178"/>
              </a:cxn>
              <a:cxn ang="0">
                <a:pos x="1417" y="187"/>
              </a:cxn>
              <a:cxn ang="0">
                <a:pos x="1338" y="196"/>
              </a:cxn>
              <a:cxn ang="0">
                <a:pos x="1249" y="206"/>
              </a:cxn>
              <a:cxn ang="0">
                <a:pos x="1154" y="210"/>
              </a:cxn>
              <a:cxn ang="0">
                <a:pos x="1051" y="215"/>
              </a:cxn>
              <a:cxn ang="0">
                <a:pos x="942" y="220"/>
              </a:cxn>
              <a:cxn ang="0">
                <a:pos x="719" y="220"/>
              </a:cxn>
              <a:cxn ang="0">
                <a:pos x="609" y="215"/>
              </a:cxn>
              <a:cxn ang="0">
                <a:pos x="507" y="210"/>
              </a:cxn>
              <a:cxn ang="0">
                <a:pos x="412" y="206"/>
              </a:cxn>
              <a:cxn ang="0">
                <a:pos x="323" y="196"/>
              </a:cxn>
              <a:cxn ang="0">
                <a:pos x="244" y="187"/>
              </a:cxn>
              <a:cxn ang="0">
                <a:pos x="172" y="178"/>
              </a:cxn>
              <a:cxn ang="0">
                <a:pos x="114" y="166"/>
              </a:cxn>
              <a:cxn ang="0">
                <a:pos x="65" y="152"/>
              </a:cxn>
              <a:cxn ang="0">
                <a:pos x="30" y="140"/>
              </a:cxn>
              <a:cxn ang="0">
                <a:pos x="7" y="124"/>
              </a:cxn>
              <a:cxn ang="0">
                <a:pos x="0" y="110"/>
              </a:cxn>
              <a:cxn ang="0">
                <a:pos x="7" y="96"/>
              </a:cxn>
              <a:cxn ang="0">
                <a:pos x="30" y="80"/>
              </a:cxn>
              <a:cxn ang="0">
                <a:pos x="65" y="68"/>
              </a:cxn>
              <a:cxn ang="0">
                <a:pos x="114" y="54"/>
              </a:cxn>
              <a:cxn ang="0">
                <a:pos x="172" y="42"/>
              </a:cxn>
              <a:cxn ang="0">
                <a:pos x="244" y="33"/>
              </a:cxn>
              <a:cxn ang="0">
                <a:pos x="323" y="24"/>
              </a:cxn>
              <a:cxn ang="0">
                <a:pos x="412" y="14"/>
              </a:cxn>
              <a:cxn ang="0">
                <a:pos x="507" y="10"/>
              </a:cxn>
              <a:cxn ang="0">
                <a:pos x="609" y="5"/>
              </a:cxn>
              <a:cxn ang="0">
                <a:pos x="719" y="0"/>
              </a:cxn>
            </a:cxnLst>
            <a:rect l="0" t="0" r="r" b="b"/>
            <a:pathLst>
              <a:path w="1659" h="220">
                <a:moveTo>
                  <a:pt x="719" y="0"/>
                </a:moveTo>
                <a:lnTo>
                  <a:pt x="942" y="0"/>
                </a:lnTo>
                <a:lnTo>
                  <a:pt x="1051" y="5"/>
                </a:lnTo>
                <a:lnTo>
                  <a:pt x="1154" y="10"/>
                </a:lnTo>
                <a:lnTo>
                  <a:pt x="1249" y="14"/>
                </a:lnTo>
                <a:lnTo>
                  <a:pt x="1338" y="24"/>
                </a:lnTo>
                <a:lnTo>
                  <a:pt x="1417" y="33"/>
                </a:lnTo>
                <a:lnTo>
                  <a:pt x="1487" y="42"/>
                </a:lnTo>
                <a:lnTo>
                  <a:pt x="1545" y="54"/>
                </a:lnTo>
                <a:lnTo>
                  <a:pt x="1594" y="68"/>
                </a:lnTo>
                <a:lnTo>
                  <a:pt x="1628" y="80"/>
                </a:lnTo>
                <a:lnTo>
                  <a:pt x="1652" y="96"/>
                </a:lnTo>
                <a:lnTo>
                  <a:pt x="1659" y="110"/>
                </a:lnTo>
                <a:lnTo>
                  <a:pt x="1652" y="124"/>
                </a:lnTo>
                <a:lnTo>
                  <a:pt x="1628" y="140"/>
                </a:lnTo>
                <a:lnTo>
                  <a:pt x="1594" y="152"/>
                </a:lnTo>
                <a:lnTo>
                  <a:pt x="1545" y="166"/>
                </a:lnTo>
                <a:lnTo>
                  <a:pt x="1487" y="178"/>
                </a:lnTo>
                <a:lnTo>
                  <a:pt x="1417" y="187"/>
                </a:lnTo>
                <a:lnTo>
                  <a:pt x="1338" y="196"/>
                </a:lnTo>
                <a:lnTo>
                  <a:pt x="1249" y="206"/>
                </a:lnTo>
                <a:lnTo>
                  <a:pt x="1154" y="210"/>
                </a:lnTo>
                <a:lnTo>
                  <a:pt x="1051" y="215"/>
                </a:lnTo>
                <a:lnTo>
                  <a:pt x="942" y="220"/>
                </a:lnTo>
                <a:lnTo>
                  <a:pt x="719" y="220"/>
                </a:lnTo>
                <a:lnTo>
                  <a:pt x="609" y="215"/>
                </a:lnTo>
                <a:lnTo>
                  <a:pt x="507" y="210"/>
                </a:lnTo>
                <a:lnTo>
                  <a:pt x="412" y="206"/>
                </a:lnTo>
                <a:lnTo>
                  <a:pt x="323" y="196"/>
                </a:lnTo>
                <a:lnTo>
                  <a:pt x="244" y="187"/>
                </a:lnTo>
                <a:lnTo>
                  <a:pt x="172" y="178"/>
                </a:lnTo>
                <a:lnTo>
                  <a:pt x="114" y="166"/>
                </a:lnTo>
                <a:lnTo>
                  <a:pt x="65" y="152"/>
                </a:lnTo>
                <a:lnTo>
                  <a:pt x="30" y="140"/>
                </a:lnTo>
                <a:lnTo>
                  <a:pt x="7" y="124"/>
                </a:lnTo>
                <a:lnTo>
                  <a:pt x="0" y="110"/>
                </a:lnTo>
                <a:lnTo>
                  <a:pt x="7" y="96"/>
                </a:lnTo>
                <a:lnTo>
                  <a:pt x="30" y="80"/>
                </a:lnTo>
                <a:lnTo>
                  <a:pt x="65" y="68"/>
                </a:lnTo>
                <a:lnTo>
                  <a:pt x="114" y="54"/>
                </a:lnTo>
                <a:lnTo>
                  <a:pt x="172" y="42"/>
                </a:lnTo>
                <a:lnTo>
                  <a:pt x="244" y="33"/>
                </a:lnTo>
                <a:lnTo>
                  <a:pt x="323" y="24"/>
                </a:lnTo>
                <a:lnTo>
                  <a:pt x="412" y="14"/>
                </a:lnTo>
                <a:lnTo>
                  <a:pt x="507" y="10"/>
                </a:lnTo>
                <a:lnTo>
                  <a:pt x="609" y="5"/>
                </a:lnTo>
                <a:lnTo>
                  <a:pt x="719"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8">
            <a:extLst>
              <a:ext uri="{FF2B5EF4-FFF2-40B4-BE49-F238E27FC236}">
                <a16:creationId xmlns:a16="http://schemas.microsoft.com/office/drawing/2014/main" id="{87F524F2-DB0A-497B-A015-6AB8BB50C7DC}"/>
              </a:ext>
            </a:extLst>
          </p:cNvPr>
          <p:cNvSpPr>
            <a:spLocks/>
          </p:cNvSpPr>
          <p:nvPr/>
        </p:nvSpPr>
        <p:spPr bwMode="auto">
          <a:xfrm>
            <a:off x="5326776" y="5220273"/>
            <a:ext cx="1468448" cy="610204"/>
          </a:xfrm>
          <a:custGeom>
            <a:avLst/>
            <a:gdLst/>
            <a:ahLst/>
            <a:cxnLst>
              <a:cxn ang="0">
                <a:pos x="528" y="0"/>
              </a:cxn>
              <a:cxn ang="0">
                <a:pos x="733" y="0"/>
              </a:cxn>
              <a:cxn ang="0">
                <a:pos x="831" y="5"/>
              </a:cxn>
              <a:cxn ang="0">
                <a:pos x="922" y="10"/>
              </a:cxn>
              <a:cxn ang="0">
                <a:pos x="1003" y="17"/>
              </a:cxn>
              <a:cxn ang="0">
                <a:pos x="1077" y="26"/>
              </a:cxn>
              <a:cxn ang="0">
                <a:pos x="1140" y="35"/>
              </a:cxn>
              <a:cxn ang="0">
                <a:pos x="1191" y="45"/>
              </a:cxn>
              <a:cxn ang="0">
                <a:pos x="1229" y="59"/>
              </a:cxn>
              <a:cxn ang="0">
                <a:pos x="1252" y="71"/>
              </a:cxn>
              <a:cxn ang="0">
                <a:pos x="1261" y="85"/>
              </a:cxn>
              <a:cxn ang="0">
                <a:pos x="1261" y="524"/>
              </a:cxn>
              <a:cxn ang="0">
                <a:pos x="0" y="524"/>
              </a:cxn>
              <a:cxn ang="0">
                <a:pos x="0" y="85"/>
              </a:cxn>
              <a:cxn ang="0">
                <a:pos x="10" y="71"/>
              </a:cxn>
              <a:cxn ang="0">
                <a:pos x="33" y="59"/>
              </a:cxn>
              <a:cxn ang="0">
                <a:pos x="70" y="45"/>
              </a:cxn>
              <a:cxn ang="0">
                <a:pos x="121" y="35"/>
              </a:cxn>
              <a:cxn ang="0">
                <a:pos x="186" y="26"/>
              </a:cxn>
              <a:cxn ang="0">
                <a:pos x="258" y="17"/>
              </a:cxn>
              <a:cxn ang="0">
                <a:pos x="342" y="10"/>
              </a:cxn>
              <a:cxn ang="0">
                <a:pos x="433" y="5"/>
              </a:cxn>
              <a:cxn ang="0">
                <a:pos x="528" y="0"/>
              </a:cxn>
            </a:cxnLst>
            <a:rect l="0" t="0" r="r" b="b"/>
            <a:pathLst>
              <a:path w="1261" h="524">
                <a:moveTo>
                  <a:pt x="528" y="0"/>
                </a:moveTo>
                <a:lnTo>
                  <a:pt x="733" y="0"/>
                </a:lnTo>
                <a:lnTo>
                  <a:pt x="831" y="5"/>
                </a:lnTo>
                <a:lnTo>
                  <a:pt x="922" y="10"/>
                </a:lnTo>
                <a:lnTo>
                  <a:pt x="1003" y="17"/>
                </a:lnTo>
                <a:lnTo>
                  <a:pt x="1077" y="26"/>
                </a:lnTo>
                <a:lnTo>
                  <a:pt x="1140" y="35"/>
                </a:lnTo>
                <a:lnTo>
                  <a:pt x="1191" y="45"/>
                </a:lnTo>
                <a:lnTo>
                  <a:pt x="1229" y="59"/>
                </a:lnTo>
                <a:lnTo>
                  <a:pt x="1252" y="71"/>
                </a:lnTo>
                <a:lnTo>
                  <a:pt x="1261" y="85"/>
                </a:lnTo>
                <a:lnTo>
                  <a:pt x="1261" y="524"/>
                </a:lnTo>
                <a:lnTo>
                  <a:pt x="0" y="524"/>
                </a:lnTo>
                <a:lnTo>
                  <a:pt x="0" y="85"/>
                </a:lnTo>
                <a:lnTo>
                  <a:pt x="10" y="71"/>
                </a:lnTo>
                <a:lnTo>
                  <a:pt x="33" y="59"/>
                </a:lnTo>
                <a:lnTo>
                  <a:pt x="70" y="45"/>
                </a:lnTo>
                <a:lnTo>
                  <a:pt x="121" y="35"/>
                </a:lnTo>
                <a:lnTo>
                  <a:pt x="186" y="26"/>
                </a:lnTo>
                <a:lnTo>
                  <a:pt x="258" y="17"/>
                </a:lnTo>
                <a:lnTo>
                  <a:pt x="342" y="10"/>
                </a:lnTo>
                <a:lnTo>
                  <a:pt x="433" y="5"/>
                </a:lnTo>
                <a:lnTo>
                  <a:pt x="528"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9">
            <a:extLst>
              <a:ext uri="{FF2B5EF4-FFF2-40B4-BE49-F238E27FC236}">
                <a16:creationId xmlns:a16="http://schemas.microsoft.com/office/drawing/2014/main" id="{1C7F0B0F-3163-40F7-B092-B169DE5DF34F}"/>
              </a:ext>
            </a:extLst>
          </p:cNvPr>
          <p:cNvSpPr>
            <a:spLocks/>
          </p:cNvSpPr>
          <p:nvPr/>
        </p:nvSpPr>
        <p:spPr bwMode="auto">
          <a:xfrm>
            <a:off x="5326776" y="5731494"/>
            <a:ext cx="1468448" cy="193309"/>
          </a:xfrm>
          <a:custGeom>
            <a:avLst/>
            <a:gdLst/>
            <a:ahLst/>
            <a:cxnLst>
              <a:cxn ang="0">
                <a:pos x="528" y="0"/>
              </a:cxn>
              <a:cxn ang="0">
                <a:pos x="733" y="0"/>
              </a:cxn>
              <a:cxn ang="0">
                <a:pos x="831" y="5"/>
              </a:cxn>
              <a:cxn ang="0">
                <a:pos x="922" y="10"/>
              </a:cxn>
              <a:cxn ang="0">
                <a:pos x="1003" y="17"/>
              </a:cxn>
              <a:cxn ang="0">
                <a:pos x="1077" y="26"/>
              </a:cxn>
              <a:cxn ang="0">
                <a:pos x="1140" y="35"/>
              </a:cxn>
              <a:cxn ang="0">
                <a:pos x="1191" y="45"/>
              </a:cxn>
              <a:cxn ang="0">
                <a:pos x="1229" y="59"/>
              </a:cxn>
              <a:cxn ang="0">
                <a:pos x="1252" y="70"/>
              </a:cxn>
              <a:cxn ang="0">
                <a:pos x="1261" y="85"/>
              </a:cxn>
              <a:cxn ang="0">
                <a:pos x="1252" y="99"/>
              </a:cxn>
              <a:cxn ang="0">
                <a:pos x="1229" y="110"/>
              </a:cxn>
              <a:cxn ang="0">
                <a:pos x="1191" y="122"/>
              </a:cxn>
              <a:cxn ang="0">
                <a:pos x="1140" y="134"/>
              </a:cxn>
              <a:cxn ang="0">
                <a:pos x="1077" y="143"/>
              </a:cxn>
              <a:cxn ang="0">
                <a:pos x="1003" y="150"/>
              </a:cxn>
              <a:cxn ang="0">
                <a:pos x="922" y="157"/>
              </a:cxn>
              <a:cxn ang="0">
                <a:pos x="831" y="162"/>
              </a:cxn>
              <a:cxn ang="0">
                <a:pos x="733" y="166"/>
              </a:cxn>
              <a:cxn ang="0">
                <a:pos x="528" y="166"/>
              </a:cxn>
              <a:cxn ang="0">
                <a:pos x="433" y="162"/>
              </a:cxn>
              <a:cxn ang="0">
                <a:pos x="342" y="157"/>
              </a:cxn>
              <a:cxn ang="0">
                <a:pos x="258" y="150"/>
              </a:cxn>
              <a:cxn ang="0">
                <a:pos x="186" y="143"/>
              </a:cxn>
              <a:cxn ang="0">
                <a:pos x="121" y="134"/>
              </a:cxn>
              <a:cxn ang="0">
                <a:pos x="70" y="122"/>
              </a:cxn>
              <a:cxn ang="0">
                <a:pos x="33" y="110"/>
              </a:cxn>
              <a:cxn ang="0">
                <a:pos x="10" y="99"/>
              </a:cxn>
              <a:cxn ang="0">
                <a:pos x="0" y="85"/>
              </a:cxn>
              <a:cxn ang="0">
                <a:pos x="10" y="70"/>
              </a:cxn>
              <a:cxn ang="0">
                <a:pos x="33" y="59"/>
              </a:cxn>
              <a:cxn ang="0">
                <a:pos x="70" y="45"/>
              </a:cxn>
              <a:cxn ang="0">
                <a:pos x="121" y="35"/>
              </a:cxn>
              <a:cxn ang="0">
                <a:pos x="186" y="26"/>
              </a:cxn>
              <a:cxn ang="0">
                <a:pos x="258" y="17"/>
              </a:cxn>
              <a:cxn ang="0">
                <a:pos x="342" y="10"/>
              </a:cxn>
              <a:cxn ang="0">
                <a:pos x="433" y="5"/>
              </a:cxn>
              <a:cxn ang="0">
                <a:pos x="528" y="0"/>
              </a:cxn>
            </a:cxnLst>
            <a:rect l="0" t="0" r="r" b="b"/>
            <a:pathLst>
              <a:path w="1261" h="166">
                <a:moveTo>
                  <a:pt x="528" y="0"/>
                </a:moveTo>
                <a:lnTo>
                  <a:pt x="733" y="0"/>
                </a:lnTo>
                <a:lnTo>
                  <a:pt x="831" y="5"/>
                </a:lnTo>
                <a:lnTo>
                  <a:pt x="922" y="10"/>
                </a:lnTo>
                <a:lnTo>
                  <a:pt x="1003" y="17"/>
                </a:lnTo>
                <a:lnTo>
                  <a:pt x="1077" y="26"/>
                </a:lnTo>
                <a:lnTo>
                  <a:pt x="1140" y="35"/>
                </a:lnTo>
                <a:lnTo>
                  <a:pt x="1191" y="45"/>
                </a:lnTo>
                <a:lnTo>
                  <a:pt x="1229" y="59"/>
                </a:lnTo>
                <a:lnTo>
                  <a:pt x="1252" y="70"/>
                </a:lnTo>
                <a:lnTo>
                  <a:pt x="1261" y="85"/>
                </a:lnTo>
                <a:lnTo>
                  <a:pt x="1252" y="99"/>
                </a:lnTo>
                <a:lnTo>
                  <a:pt x="1229" y="110"/>
                </a:lnTo>
                <a:lnTo>
                  <a:pt x="1191" y="122"/>
                </a:lnTo>
                <a:lnTo>
                  <a:pt x="1140" y="134"/>
                </a:lnTo>
                <a:lnTo>
                  <a:pt x="1077" y="143"/>
                </a:lnTo>
                <a:lnTo>
                  <a:pt x="1003" y="150"/>
                </a:lnTo>
                <a:lnTo>
                  <a:pt x="922" y="157"/>
                </a:lnTo>
                <a:lnTo>
                  <a:pt x="831" y="162"/>
                </a:lnTo>
                <a:lnTo>
                  <a:pt x="733" y="166"/>
                </a:lnTo>
                <a:lnTo>
                  <a:pt x="528" y="166"/>
                </a:lnTo>
                <a:lnTo>
                  <a:pt x="433" y="162"/>
                </a:lnTo>
                <a:lnTo>
                  <a:pt x="342" y="157"/>
                </a:lnTo>
                <a:lnTo>
                  <a:pt x="258" y="150"/>
                </a:lnTo>
                <a:lnTo>
                  <a:pt x="186" y="143"/>
                </a:lnTo>
                <a:lnTo>
                  <a:pt x="121" y="134"/>
                </a:lnTo>
                <a:lnTo>
                  <a:pt x="70" y="122"/>
                </a:lnTo>
                <a:lnTo>
                  <a:pt x="33" y="110"/>
                </a:lnTo>
                <a:lnTo>
                  <a:pt x="10" y="99"/>
                </a:lnTo>
                <a:lnTo>
                  <a:pt x="0" y="85"/>
                </a:lnTo>
                <a:lnTo>
                  <a:pt x="10" y="70"/>
                </a:lnTo>
                <a:lnTo>
                  <a:pt x="33" y="59"/>
                </a:lnTo>
                <a:lnTo>
                  <a:pt x="70" y="45"/>
                </a:lnTo>
                <a:lnTo>
                  <a:pt x="121" y="35"/>
                </a:lnTo>
                <a:lnTo>
                  <a:pt x="186" y="26"/>
                </a:lnTo>
                <a:lnTo>
                  <a:pt x="258" y="17"/>
                </a:lnTo>
                <a:lnTo>
                  <a:pt x="342" y="10"/>
                </a:lnTo>
                <a:lnTo>
                  <a:pt x="433" y="5"/>
                </a:lnTo>
                <a:lnTo>
                  <a:pt x="528"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3" name="Group 52">
            <a:extLst>
              <a:ext uri="{FF2B5EF4-FFF2-40B4-BE49-F238E27FC236}">
                <a16:creationId xmlns:a16="http://schemas.microsoft.com/office/drawing/2014/main" id="{0A5325EB-E675-41A1-82F8-6A8AE32555E7}"/>
              </a:ext>
            </a:extLst>
          </p:cNvPr>
          <p:cNvGrpSpPr/>
          <p:nvPr/>
        </p:nvGrpSpPr>
        <p:grpSpPr>
          <a:xfrm>
            <a:off x="4989375" y="2319215"/>
            <a:ext cx="2159566" cy="3321000"/>
            <a:chOff x="4947792" y="1658256"/>
            <a:chExt cx="2566707" cy="3947104"/>
          </a:xfrm>
        </p:grpSpPr>
        <p:sp>
          <p:nvSpPr>
            <p:cNvPr id="54" name="TextBox 14">
              <a:extLst>
                <a:ext uri="{FF2B5EF4-FFF2-40B4-BE49-F238E27FC236}">
                  <a16:creationId xmlns:a16="http://schemas.microsoft.com/office/drawing/2014/main" id="{3049FC8B-EC07-4FAB-9A2A-E25F30FAD3DB}"/>
                </a:ext>
              </a:extLst>
            </p:cNvPr>
            <p:cNvSpPr txBox="1"/>
            <p:nvPr/>
          </p:nvSpPr>
          <p:spPr>
            <a:xfrm>
              <a:off x="4947792" y="1658256"/>
              <a:ext cx="2566707" cy="438962"/>
            </a:xfrm>
            <a:prstGeom prst="rect">
              <a:avLst/>
            </a:prstGeom>
            <a:noFill/>
            <a:effectLst/>
          </p:spPr>
          <p:txBody>
            <a:bodyPr wrap="none" rtlCol="0">
              <a:spAutoFit/>
            </a:bodyPr>
            <a:lstStyle/>
            <a:p>
              <a:pPr algn="ctr"/>
              <a:r>
                <a:rPr lang="en-US" sz="1800" dirty="0">
                  <a:solidFill>
                    <a:schemeClr val="bg1"/>
                  </a:solidFill>
                  <a:cs typeface="Arial" pitchFamily="34" charset="0"/>
                </a:rPr>
                <a:t>Strategic alignment</a:t>
              </a:r>
            </a:p>
          </p:txBody>
        </p:sp>
        <p:sp>
          <p:nvSpPr>
            <p:cNvPr id="55" name="TextBox 54">
              <a:extLst>
                <a:ext uri="{FF2B5EF4-FFF2-40B4-BE49-F238E27FC236}">
                  <a16:creationId xmlns:a16="http://schemas.microsoft.com/office/drawing/2014/main" id="{B6BBF957-02CB-4753-8A2A-72CFCA193CD0}"/>
                </a:ext>
              </a:extLst>
            </p:cNvPr>
            <p:cNvSpPr txBox="1"/>
            <p:nvPr/>
          </p:nvSpPr>
          <p:spPr>
            <a:xfrm>
              <a:off x="5572703" y="2590799"/>
              <a:ext cx="1316887" cy="438962"/>
            </a:xfrm>
            <a:prstGeom prst="rect">
              <a:avLst/>
            </a:prstGeom>
            <a:noFill/>
            <a:effectLst/>
          </p:spPr>
          <p:txBody>
            <a:bodyPr wrap="none" rtlCol="0">
              <a:spAutoFit/>
            </a:bodyPr>
            <a:lstStyle/>
            <a:p>
              <a:pPr algn="ctr"/>
              <a:r>
                <a:rPr lang="en-US" sz="1800" dirty="0">
                  <a:solidFill>
                    <a:schemeClr val="bg1"/>
                  </a:solidFill>
                  <a:cs typeface="Arial" pitchFamily="34" charset="0"/>
                </a:rPr>
                <a:t>Revenue</a:t>
              </a:r>
            </a:p>
          </p:txBody>
        </p:sp>
        <p:sp>
          <p:nvSpPr>
            <p:cNvPr id="56" name="TextBox 55">
              <a:extLst>
                <a:ext uri="{FF2B5EF4-FFF2-40B4-BE49-F238E27FC236}">
                  <a16:creationId xmlns:a16="http://schemas.microsoft.com/office/drawing/2014/main" id="{021B3EC8-FEE0-4DE5-A9ED-9B096D09C664}"/>
                </a:ext>
              </a:extLst>
            </p:cNvPr>
            <p:cNvSpPr txBox="1"/>
            <p:nvPr/>
          </p:nvSpPr>
          <p:spPr>
            <a:xfrm>
              <a:off x="5702254" y="3519714"/>
              <a:ext cx="1057777" cy="438962"/>
            </a:xfrm>
            <a:prstGeom prst="rect">
              <a:avLst/>
            </a:prstGeom>
            <a:noFill/>
            <a:effectLst/>
          </p:spPr>
          <p:txBody>
            <a:bodyPr wrap="none" rtlCol="0">
              <a:spAutoFit/>
            </a:bodyPr>
            <a:lstStyle/>
            <a:p>
              <a:pPr algn="ctr"/>
              <a:r>
                <a:rPr lang="en-US" sz="1800" dirty="0">
                  <a:solidFill>
                    <a:schemeClr val="bg1"/>
                  </a:solidFill>
                  <a:cs typeface="Arial" pitchFamily="34" charset="0"/>
                </a:rPr>
                <a:t>Market</a:t>
              </a:r>
            </a:p>
          </p:txBody>
        </p:sp>
        <p:sp>
          <p:nvSpPr>
            <p:cNvPr id="57" name="TextBox 56">
              <a:extLst>
                <a:ext uri="{FF2B5EF4-FFF2-40B4-BE49-F238E27FC236}">
                  <a16:creationId xmlns:a16="http://schemas.microsoft.com/office/drawing/2014/main" id="{60A302CD-8BA3-4164-A028-36B7D833D215}"/>
                </a:ext>
              </a:extLst>
            </p:cNvPr>
            <p:cNvSpPr txBox="1"/>
            <p:nvPr/>
          </p:nvSpPr>
          <p:spPr>
            <a:xfrm>
              <a:off x="5450768" y="4372428"/>
              <a:ext cx="1560753" cy="438962"/>
            </a:xfrm>
            <a:prstGeom prst="rect">
              <a:avLst/>
            </a:prstGeom>
            <a:noFill/>
            <a:effectLst/>
          </p:spPr>
          <p:txBody>
            <a:bodyPr wrap="none" rtlCol="0">
              <a:spAutoFit/>
            </a:bodyPr>
            <a:lstStyle/>
            <a:p>
              <a:pPr algn="ctr"/>
              <a:r>
                <a:rPr lang="en-US" dirty="0">
                  <a:solidFill>
                    <a:schemeClr val="bg1"/>
                  </a:solidFill>
                  <a:cs typeface="Arial" pitchFamily="34" charset="0"/>
                </a:rPr>
                <a:t>Positioning</a:t>
              </a:r>
            </a:p>
          </p:txBody>
        </p:sp>
        <p:sp>
          <p:nvSpPr>
            <p:cNvPr id="58" name="TextBox 57">
              <a:extLst>
                <a:ext uri="{FF2B5EF4-FFF2-40B4-BE49-F238E27FC236}">
                  <a16:creationId xmlns:a16="http://schemas.microsoft.com/office/drawing/2014/main" id="{39B1B9DF-818B-4061-B61E-D8FD2EB8FCA5}"/>
                </a:ext>
              </a:extLst>
            </p:cNvPr>
            <p:cNvSpPr txBox="1"/>
            <p:nvPr/>
          </p:nvSpPr>
          <p:spPr>
            <a:xfrm>
              <a:off x="5529664" y="5236028"/>
              <a:ext cx="1402948" cy="369332"/>
            </a:xfrm>
            <a:prstGeom prst="rect">
              <a:avLst/>
            </a:prstGeom>
            <a:no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stStyle>
            <a:p>
              <a:pPr algn="ctr"/>
              <a:r>
                <a:rPr lang="en-US" dirty="0">
                  <a:solidFill>
                    <a:schemeClr val="bg1"/>
                  </a:solidFill>
                  <a:cs typeface="Arial" pitchFamily="34" charset="0"/>
                </a:rPr>
                <a:t>Risk</a:t>
              </a:r>
            </a:p>
          </p:txBody>
        </p:sp>
      </p:grpSp>
      <p:sp>
        <p:nvSpPr>
          <p:cNvPr id="59" name="TextBox 58">
            <a:extLst>
              <a:ext uri="{FF2B5EF4-FFF2-40B4-BE49-F238E27FC236}">
                <a16:creationId xmlns:a16="http://schemas.microsoft.com/office/drawing/2014/main" id="{47D07FE2-2696-4C97-8F35-2CE77D3847CA}"/>
              </a:ext>
            </a:extLst>
          </p:cNvPr>
          <p:cNvSpPr txBox="1"/>
          <p:nvPr/>
        </p:nvSpPr>
        <p:spPr>
          <a:xfrm>
            <a:off x="8282225" y="2293414"/>
            <a:ext cx="3642169" cy="738664"/>
          </a:xfrm>
          <a:prstGeom prst="rect">
            <a:avLst/>
          </a:prstGeom>
          <a:noFill/>
        </p:spPr>
        <p:txBody>
          <a:bodyPr wrap="square" rtlCol="0">
            <a:spAutoFit/>
          </a:bodyPr>
          <a:lstStyle/>
          <a:p>
            <a:r>
              <a:rPr lang="en-US" sz="1400" b="1" kern="0" dirty="0">
                <a:cs typeface="Arial" pitchFamily="34" charset="0"/>
              </a:rPr>
              <a:t>The acquisition of the target company needs to help us reach at least one of our M&amp;A strategic objectives</a:t>
            </a:r>
            <a:endParaRPr lang="en-US" sz="1400" b="1" dirty="0"/>
          </a:p>
        </p:txBody>
      </p:sp>
      <p:sp>
        <p:nvSpPr>
          <p:cNvPr id="60" name="TextBox 59">
            <a:extLst>
              <a:ext uri="{FF2B5EF4-FFF2-40B4-BE49-F238E27FC236}">
                <a16:creationId xmlns:a16="http://schemas.microsoft.com/office/drawing/2014/main" id="{EC994E38-37BF-4241-ADAB-2AE4B667994E}"/>
              </a:ext>
            </a:extLst>
          </p:cNvPr>
          <p:cNvSpPr txBox="1"/>
          <p:nvPr/>
        </p:nvSpPr>
        <p:spPr>
          <a:xfrm>
            <a:off x="8282225" y="3903663"/>
            <a:ext cx="3304937" cy="523220"/>
          </a:xfrm>
          <a:prstGeom prst="rect">
            <a:avLst/>
          </a:prstGeom>
          <a:noFill/>
        </p:spPr>
        <p:txBody>
          <a:bodyPr wrap="square" rtlCol="0">
            <a:spAutoFit/>
          </a:bodyPr>
          <a:lstStyle/>
          <a:p>
            <a:r>
              <a:rPr lang="en-US" sz="1400" b="1" kern="0" dirty="0">
                <a:cs typeface="Arial" pitchFamily="34" charset="0"/>
              </a:rPr>
              <a:t>The target company needs to sell its products mainly in the Asian market</a:t>
            </a:r>
            <a:endParaRPr lang="en-US" sz="1400" b="1" dirty="0"/>
          </a:p>
        </p:txBody>
      </p:sp>
      <p:sp>
        <p:nvSpPr>
          <p:cNvPr id="61" name="TextBox 60">
            <a:extLst>
              <a:ext uri="{FF2B5EF4-FFF2-40B4-BE49-F238E27FC236}">
                <a16:creationId xmlns:a16="http://schemas.microsoft.com/office/drawing/2014/main" id="{63F7EB39-9B80-4769-B09D-ECBBC2A6CE88}"/>
              </a:ext>
            </a:extLst>
          </p:cNvPr>
          <p:cNvSpPr txBox="1"/>
          <p:nvPr/>
        </p:nvSpPr>
        <p:spPr>
          <a:xfrm>
            <a:off x="8282226" y="5249520"/>
            <a:ext cx="3304936" cy="738664"/>
          </a:xfrm>
          <a:prstGeom prst="rect">
            <a:avLst/>
          </a:prstGeom>
          <a:noFill/>
        </p:spPr>
        <p:txBody>
          <a:bodyPr wrap="square" rtlCol="0">
            <a:spAutoFit/>
          </a:bodyPr>
          <a:lstStyle/>
          <a:p>
            <a:r>
              <a:rPr lang="en-GB" sz="1400" b="1" kern="0" dirty="0">
                <a:cs typeface="Arial" pitchFamily="34" charset="0"/>
              </a:rPr>
              <a:t>Acceptable impact on the Group’s financial and non-financial risk profile</a:t>
            </a:r>
            <a:endParaRPr lang="en-US" sz="1400" b="1" dirty="0"/>
          </a:p>
        </p:txBody>
      </p:sp>
      <p:sp>
        <p:nvSpPr>
          <p:cNvPr id="62" name="TextBox 61">
            <a:extLst>
              <a:ext uri="{FF2B5EF4-FFF2-40B4-BE49-F238E27FC236}">
                <a16:creationId xmlns:a16="http://schemas.microsoft.com/office/drawing/2014/main" id="{066FFD46-14D4-43F4-A930-149DC8CEE749}"/>
              </a:ext>
            </a:extLst>
          </p:cNvPr>
          <p:cNvSpPr txBox="1"/>
          <p:nvPr/>
        </p:nvSpPr>
        <p:spPr>
          <a:xfrm>
            <a:off x="1010142" y="3075109"/>
            <a:ext cx="2899632" cy="523220"/>
          </a:xfrm>
          <a:prstGeom prst="rect">
            <a:avLst/>
          </a:prstGeom>
          <a:noFill/>
        </p:spPr>
        <p:txBody>
          <a:bodyPr wrap="square" rtlCol="0">
            <a:spAutoFit/>
          </a:bodyPr>
          <a:lstStyle/>
          <a:p>
            <a:r>
              <a:rPr lang="en-US" sz="1400" b="1" kern="0" dirty="0">
                <a:cs typeface="Arial" pitchFamily="34" charset="0"/>
              </a:rPr>
              <a:t>The target company needs to have a revenue above $10M</a:t>
            </a:r>
            <a:endParaRPr lang="en-US" sz="1400" b="1" dirty="0"/>
          </a:p>
        </p:txBody>
      </p:sp>
      <p:sp>
        <p:nvSpPr>
          <p:cNvPr id="63" name="TextBox 62">
            <a:extLst>
              <a:ext uri="{FF2B5EF4-FFF2-40B4-BE49-F238E27FC236}">
                <a16:creationId xmlns:a16="http://schemas.microsoft.com/office/drawing/2014/main" id="{61087AA6-5327-4B82-993E-69A1259B9DAB}"/>
              </a:ext>
            </a:extLst>
          </p:cNvPr>
          <p:cNvSpPr txBox="1"/>
          <p:nvPr/>
        </p:nvSpPr>
        <p:spPr>
          <a:xfrm>
            <a:off x="720436" y="4594633"/>
            <a:ext cx="3189338" cy="738664"/>
          </a:xfrm>
          <a:prstGeom prst="rect">
            <a:avLst/>
          </a:prstGeom>
          <a:noFill/>
        </p:spPr>
        <p:txBody>
          <a:bodyPr wrap="square" rtlCol="0">
            <a:spAutoFit/>
          </a:bodyPr>
          <a:lstStyle/>
          <a:p>
            <a:r>
              <a:rPr lang="en-US" sz="1400" b="1" kern="0" dirty="0">
                <a:cs typeface="Arial" pitchFamily="34" charset="0"/>
              </a:rPr>
              <a:t>The target company needs to have a premium positioning and good reputation</a:t>
            </a:r>
            <a:endParaRPr lang="en-US" sz="1400" b="1" dirty="0"/>
          </a:p>
        </p:txBody>
      </p:sp>
      <p:pic>
        <p:nvPicPr>
          <p:cNvPr id="4" name="Graphic 3" descr="Building with solid fill">
            <a:extLst>
              <a:ext uri="{FF2B5EF4-FFF2-40B4-BE49-F238E27FC236}">
                <a16:creationId xmlns:a16="http://schemas.microsoft.com/office/drawing/2014/main" id="{325EE201-69AA-4933-ABAD-008FDAA5E48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49088" y="1684562"/>
            <a:ext cx="506818" cy="506818"/>
          </a:xfrm>
          <a:prstGeom prst="rect">
            <a:avLst/>
          </a:prstGeom>
        </p:spPr>
      </p:pic>
      <p:pic>
        <p:nvPicPr>
          <p:cNvPr id="76" name="Graphic 75" descr="Building with solid fill">
            <a:extLst>
              <a:ext uri="{FF2B5EF4-FFF2-40B4-BE49-F238E27FC236}">
                <a16:creationId xmlns:a16="http://schemas.microsoft.com/office/drawing/2014/main" id="{3C03AECA-1AE2-4B66-A3F4-995A498468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26017" y="1684562"/>
            <a:ext cx="506818" cy="506818"/>
          </a:xfrm>
          <a:prstGeom prst="rect">
            <a:avLst/>
          </a:prstGeom>
        </p:spPr>
      </p:pic>
      <p:pic>
        <p:nvPicPr>
          <p:cNvPr id="77" name="Graphic 76" descr="Building with solid fill">
            <a:extLst>
              <a:ext uri="{FF2B5EF4-FFF2-40B4-BE49-F238E27FC236}">
                <a16:creationId xmlns:a16="http://schemas.microsoft.com/office/drawing/2014/main" id="{80E979AA-A232-40A3-91CB-4976D10203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02946" y="1684562"/>
            <a:ext cx="506818" cy="506818"/>
          </a:xfrm>
          <a:prstGeom prst="rect">
            <a:avLst/>
          </a:prstGeom>
        </p:spPr>
      </p:pic>
      <p:pic>
        <p:nvPicPr>
          <p:cNvPr id="78" name="Graphic 77" descr="Building with solid fill">
            <a:extLst>
              <a:ext uri="{FF2B5EF4-FFF2-40B4-BE49-F238E27FC236}">
                <a16:creationId xmlns:a16="http://schemas.microsoft.com/office/drawing/2014/main" id="{1D31D3E2-EED1-4C85-A884-A816E69943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79875" y="1684562"/>
            <a:ext cx="506818" cy="506818"/>
          </a:xfrm>
          <a:prstGeom prst="rect">
            <a:avLst/>
          </a:prstGeom>
        </p:spPr>
      </p:pic>
      <p:pic>
        <p:nvPicPr>
          <p:cNvPr id="79" name="Graphic 78" descr="Building with solid fill">
            <a:extLst>
              <a:ext uri="{FF2B5EF4-FFF2-40B4-BE49-F238E27FC236}">
                <a16:creationId xmlns:a16="http://schemas.microsoft.com/office/drawing/2014/main" id="{3FC4BA47-6FF7-44DE-8366-543F245633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56804" y="1684562"/>
            <a:ext cx="506818" cy="506818"/>
          </a:xfrm>
          <a:prstGeom prst="rect">
            <a:avLst/>
          </a:prstGeom>
        </p:spPr>
      </p:pic>
      <p:pic>
        <p:nvPicPr>
          <p:cNvPr id="80" name="Graphic 79" descr="Building with solid fill">
            <a:extLst>
              <a:ext uri="{FF2B5EF4-FFF2-40B4-BE49-F238E27FC236}">
                <a16:creationId xmlns:a16="http://schemas.microsoft.com/office/drawing/2014/main" id="{79D1351A-400A-4388-9C79-3E504F8E79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33733" y="1684562"/>
            <a:ext cx="506818" cy="506818"/>
          </a:xfrm>
          <a:prstGeom prst="rect">
            <a:avLst/>
          </a:prstGeom>
        </p:spPr>
      </p:pic>
      <p:pic>
        <p:nvPicPr>
          <p:cNvPr id="81" name="Graphic 80" descr="Building with solid fill">
            <a:extLst>
              <a:ext uri="{FF2B5EF4-FFF2-40B4-BE49-F238E27FC236}">
                <a16:creationId xmlns:a16="http://schemas.microsoft.com/office/drawing/2014/main" id="{8C0429A2-B28E-4B6D-B2D7-7E3FEF861E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10662" y="1684562"/>
            <a:ext cx="506818" cy="506818"/>
          </a:xfrm>
          <a:prstGeom prst="rect">
            <a:avLst/>
          </a:prstGeom>
        </p:spPr>
      </p:pic>
      <p:pic>
        <p:nvPicPr>
          <p:cNvPr id="82" name="Graphic 81" descr="Building with solid fill">
            <a:extLst>
              <a:ext uri="{FF2B5EF4-FFF2-40B4-BE49-F238E27FC236}">
                <a16:creationId xmlns:a16="http://schemas.microsoft.com/office/drawing/2014/main" id="{CADC6DDD-A32A-4D63-8A1D-9883C95AE6C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87591" y="1684562"/>
            <a:ext cx="506818" cy="506818"/>
          </a:xfrm>
          <a:prstGeom prst="rect">
            <a:avLst/>
          </a:prstGeom>
        </p:spPr>
      </p:pic>
      <p:pic>
        <p:nvPicPr>
          <p:cNvPr id="83" name="Graphic 82" descr="Building with solid fill">
            <a:extLst>
              <a:ext uri="{FF2B5EF4-FFF2-40B4-BE49-F238E27FC236}">
                <a16:creationId xmlns:a16="http://schemas.microsoft.com/office/drawing/2014/main" id="{78F446D5-4B6B-4F0F-9E6D-12EB69C50F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64522" y="1684562"/>
            <a:ext cx="506818" cy="506818"/>
          </a:xfrm>
          <a:prstGeom prst="rect">
            <a:avLst/>
          </a:prstGeom>
        </p:spPr>
      </p:pic>
      <p:pic>
        <p:nvPicPr>
          <p:cNvPr id="84" name="Graphic 83" descr="Building with solid fill">
            <a:extLst>
              <a:ext uri="{FF2B5EF4-FFF2-40B4-BE49-F238E27FC236}">
                <a16:creationId xmlns:a16="http://schemas.microsoft.com/office/drawing/2014/main" id="{1D3A5DB3-E4B9-4A48-B4DA-F6C47A69D7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35291" y="6016082"/>
            <a:ext cx="506818" cy="506818"/>
          </a:xfrm>
          <a:prstGeom prst="rect">
            <a:avLst/>
          </a:prstGeom>
        </p:spPr>
      </p:pic>
      <p:pic>
        <p:nvPicPr>
          <p:cNvPr id="85" name="Graphic 84" descr="Building with solid fill">
            <a:extLst>
              <a:ext uri="{FF2B5EF4-FFF2-40B4-BE49-F238E27FC236}">
                <a16:creationId xmlns:a16="http://schemas.microsoft.com/office/drawing/2014/main" id="{54E201D2-79A7-4295-8250-B0552A5EF6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12220" y="6016082"/>
            <a:ext cx="506818" cy="506818"/>
          </a:xfrm>
          <a:prstGeom prst="rect">
            <a:avLst/>
          </a:prstGeom>
        </p:spPr>
      </p:pic>
      <p:pic>
        <p:nvPicPr>
          <p:cNvPr id="86" name="Graphic 85" descr="Building with solid fill">
            <a:extLst>
              <a:ext uri="{FF2B5EF4-FFF2-40B4-BE49-F238E27FC236}">
                <a16:creationId xmlns:a16="http://schemas.microsoft.com/office/drawing/2014/main" id="{CA97928E-E0C0-4670-A968-93218FEA53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89149" y="6016082"/>
            <a:ext cx="506818" cy="506818"/>
          </a:xfrm>
          <a:prstGeom prst="rect">
            <a:avLst/>
          </a:prstGeom>
        </p:spPr>
      </p:pic>
    </p:spTree>
    <p:extLst>
      <p:ext uri="{BB962C8B-B14F-4D97-AF65-F5344CB8AC3E}">
        <p14:creationId xmlns:p14="http://schemas.microsoft.com/office/powerpoint/2010/main" val="14141176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e identified 5 [insert your own number] screening criteria to help us select the right companies to potentially acquire</a:t>
            </a:r>
            <a:endParaRPr lang="en-US" sz="2400" kern="0" dirty="0"/>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cxnSp>
        <p:nvCxnSpPr>
          <p:cNvPr id="20" name="Straight Connector 19">
            <a:extLst>
              <a:ext uri="{FF2B5EF4-FFF2-40B4-BE49-F238E27FC236}">
                <a16:creationId xmlns:a16="http://schemas.microsoft.com/office/drawing/2014/main" id="{20AEA728-4591-4064-BF22-1324704EA368}"/>
              </a:ext>
            </a:extLst>
          </p:cNvPr>
          <p:cNvCxnSpPr>
            <a:cxnSpLocks/>
          </p:cNvCxnSpPr>
          <p:nvPr/>
        </p:nvCxnSpPr>
        <p:spPr>
          <a:xfrm>
            <a:off x="7005887" y="2683660"/>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C4154393-69BD-4256-83B9-7AB6B511F539}"/>
              </a:ext>
            </a:extLst>
          </p:cNvPr>
          <p:cNvSpPr/>
          <p:nvPr/>
        </p:nvSpPr>
        <p:spPr>
          <a:xfrm>
            <a:off x="8002853" y="2623128"/>
            <a:ext cx="122400" cy="122400"/>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Connector 21">
            <a:extLst>
              <a:ext uri="{FF2B5EF4-FFF2-40B4-BE49-F238E27FC236}">
                <a16:creationId xmlns:a16="http://schemas.microsoft.com/office/drawing/2014/main" id="{7B6444FD-EB2F-44DE-BE6A-97C67CD0E2C1}"/>
              </a:ext>
            </a:extLst>
          </p:cNvPr>
          <p:cNvCxnSpPr>
            <a:cxnSpLocks/>
          </p:cNvCxnSpPr>
          <p:nvPr/>
        </p:nvCxnSpPr>
        <p:spPr>
          <a:xfrm>
            <a:off x="7005887" y="4164605"/>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211A113D-B49F-4321-9B64-2DA0316D05F7}"/>
              </a:ext>
            </a:extLst>
          </p:cNvPr>
          <p:cNvSpPr/>
          <p:nvPr/>
        </p:nvSpPr>
        <p:spPr>
          <a:xfrm>
            <a:off x="8002853" y="4104073"/>
            <a:ext cx="122400" cy="122400"/>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7" name="Straight Connector 36">
            <a:extLst>
              <a:ext uri="{FF2B5EF4-FFF2-40B4-BE49-F238E27FC236}">
                <a16:creationId xmlns:a16="http://schemas.microsoft.com/office/drawing/2014/main" id="{208A4C52-4E6B-427A-83A1-ECE3F1DB2785}"/>
              </a:ext>
            </a:extLst>
          </p:cNvPr>
          <p:cNvCxnSpPr>
            <a:cxnSpLocks/>
          </p:cNvCxnSpPr>
          <p:nvPr/>
        </p:nvCxnSpPr>
        <p:spPr>
          <a:xfrm>
            <a:off x="6795224" y="5584295"/>
            <a:ext cx="1219158" cy="1447"/>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5684BCB9-1D64-4814-8E68-C23822DA165B}"/>
              </a:ext>
            </a:extLst>
          </p:cNvPr>
          <p:cNvSpPr/>
          <p:nvPr/>
        </p:nvSpPr>
        <p:spPr>
          <a:xfrm>
            <a:off x="7980108" y="5523818"/>
            <a:ext cx="122400" cy="122400"/>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9" name="Straight Connector 38">
            <a:extLst>
              <a:ext uri="{FF2B5EF4-FFF2-40B4-BE49-F238E27FC236}">
                <a16:creationId xmlns:a16="http://schemas.microsoft.com/office/drawing/2014/main" id="{C5A847E9-72AE-4EF6-9F3B-B03DC7C7295E}"/>
              </a:ext>
            </a:extLst>
          </p:cNvPr>
          <p:cNvCxnSpPr>
            <a:cxnSpLocks/>
          </p:cNvCxnSpPr>
          <p:nvPr/>
        </p:nvCxnSpPr>
        <p:spPr>
          <a:xfrm flipH="1">
            <a:off x="4106610" y="3409939"/>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B2BE7CAA-8DE3-4194-9626-AB0115E835C9}"/>
              </a:ext>
            </a:extLst>
          </p:cNvPr>
          <p:cNvSpPr/>
          <p:nvPr/>
        </p:nvSpPr>
        <p:spPr>
          <a:xfrm flipH="1">
            <a:off x="4014765" y="3350266"/>
            <a:ext cx="120683" cy="120683"/>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382DAA24-2637-4218-B03C-3D3372996660}"/>
              </a:ext>
            </a:extLst>
          </p:cNvPr>
          <p:cNvCxnSpPr>
            <a:cxnSpLocks/>
          </p:cNvCxnSpPr>
          <p:nvPr/>
        </p:nvCxnSpPr>
        <p:spPr>
          <a:xfrm flipH="1">
            <a:off x="4106610" y="4855575"/>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7B87E424-9BB0-4DE3-B024-133E76635D87}"/>
              </a:ext>
            </a:extLst>
          </p:cNvPr>
          <p:cNvSpPr/>
          <p:nvPr/>
        </p:nvSpPr>
        <p:spPr>
          <a:xfrm flipH="1">
            <a:off x="4014765" y="4795902"/>
            <a:ext cx="120683" cy="120683"/>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eform 6">
            <a:extLst>
              <a:ext uri="{FF2B5EF4-FFF2-40B4-BE49-F238E27FC236}">
                <a16:creationId xmlns:a16="http://schemas.microsoft.com/office/drawing/2014/main" id="{F4838B57-EE6F-4E30-A12E-B872C18B1D4C}"/>
              </a:ext>
            </a:extLst>
          </p:cNvPr>
          <p:cNvSpPr>
            <a:spLocks/>
          </p:cNvSpPr>
          <p:nvPr/>
        </p:nvSpPr>
        <p:spPr bwMode="auto">
          <a:xfrm>
            <a:off x="4332284" y="2221657"/>
            <a:ext cx="3473735" cy="741793"/>
          </a:xfrm>
          <a:custGeom>
            <a:avLst/>
            <a:gdLst/>
            <a:ahLst/>
            <a:cxnLst>
              <a:cxn ang="0">
                <a:pos x="1329" y="0"/>
              </a:cxn>
              <a:cxn ang="0">
                <a:pos x="1655" y="0"/>
              </a:cxn>
              <a:cxn ang="0">
                <a:pos x="1813" y="5"/>
              </a:cxn>
              <a:cxn ang="0">
                <a:pos x="1964" y="9"/>
              </a:cxn>
              <a:cxn ang="0">
                <a:pos x="2108" y="16"/>
              </a:cxn>
              <a:cxn ang="0">
                <a:pos x="2246" y="26"/>
              </a:cxn>
              <a:cxn ang="0">
                <a:pos x="2374" y="37"/>
              </a:cxn>
              <a:cxn ang="0">
                <a:pos x="2490" y="49"/>
              </a:cxn>
              <a:cxn ang="0">
                <a:pos x="2599" y="63"/>
              </a:cxn>
              <a:cxn ang="0">
                <a:pos x="2695" y="79"/>
              </a:cxn>
              <a:cxn ang="0">
                <a:pos x="2778" y="96"/>
              </a:cxn>
              <a:cxn ang="0">
                <a:pos x="2851" y="114"/>
              </a:cxn>
              <a:cxn ang="0">
                <a:pos x="2906" y="133"/>
              </a:cxn>
              <a:cxn ang="0">
                <a:pos x="2948" y="154"/>
              </a:cxn>
              <a:cxn ang="0">
                <a:pos x="2974" y="175"/>
              </a:cxn>
              <a:cxn ang="0">
                <a:pos x="2983" y="196"/>
              </a:cxn>
              <a:cxn ang="0">
                <a:pos x="2983" y="637"/>
              </a:cxn>
              <a:cxn ang="0">
                <a:pos x="0" y="637"/>
              </a:cxn>
              <a:cxn ang="0">
                <a:pos x="0" y="196"/>
              </a:cxn>
              <a:cxn ang="0">
                <a:pos x="10" y="175"/>
              </a:cxn>
              <a:cxn ang="0">
                <a:pos x="35" y="154"/>
              </a:cxn>
              <a:cxn ang="0">
                <a:pos x="77" y="133"/>
              </a:cxn>
              <a:cxn ang="0">
                <a:pos x="133" y="114"/>
              </a:cxn>
              <a:cxn ang="0">
                <a:pos x="205" y="96"/>
              </a:cxn>
              <a:cxn ang="0">
                <a:pos x="289" y="79"/>
              </a:cxn>
              <a:cxn ang="0">
                <a:pos x="384" y="63"/>
              </a:cxn>
              <a:cxn ang="0">
                <a:pos x="494" y="49"/>
              </a:cxn>
              <a:cxn ang="0">
                <a:pos x="610" y="37"/>
              </a:cxn>
              <a:cxn ang="0">
                <a:pos x="738" y="26"/>
              </a:cxn>
              <a:cxn ang="0">
                <a:pos x="875" y="16"/>
              </a:cxn>
              <a:cxn ang="0">
                <a:pos x="1019" y="9"/>
              </a:cxn>
              <a:cxn ang="0">
                <a:pos x="1171" y="5"/>
              </a:cxn>
              <a:cxn ang="0">
                <a:pos x="1329" y="0"/>
              </a:cxn>
            </a:cxnLst>
            <a:rect l="0" t="0" r="r" b="b"/>
            <a:pathLst>
              <a:path w="2983" h="637">
                <a:moveTo>
                  <a:pt x="1329" y="0"/>
                </a:moveTo>
                <a:lnTo>
                  <a:pt x="1655" y="0"/>
                </a:lnTo>
                <a:lnTo>
                  <a:pt x="1813" y="5"/>
                </a:lnTo>
                <a:lnTo>
                  <a:pt x="1964" y="9"/>
                </a:lnTo>
                <a:lnTo>
                  <a:pt x="2108" y="16"/>
                </a:lnTo>
                <a:lnTo>
                  <a:pt x="2246" y="26"/>
                </a:lnTo>
                <a:lnTo>
                  <a:pt x="2374" y="37"/>
                </a:lnTo>
                <a:lnTo>
                  <a:pt x="2490" y="49"/>
                </a:lnTo>
                <a:lnTo>
                  <a:pt x="2599" y="63"/>
                </a:lnTo>
                <a:lnTo>
                  <a:pt x="2695" y="79"/>
                </a:lnTo>
                <a:lnTo>
                  <a:pt x="2778" y="96"/>
                </a:lnTo>
                <a:lnTo>
                  <a:pt x="2851" y="114"/>
                </a:lnTo>
                <a:lnTo>
                  <a:pt x="2906" y="133"/>
                </a:lnTo>
                <a:lnTo>
                  <a:pt x="2948" y="154"/>
                </a:lnTo>
                <a:lnTo>
                  <a:pt x="2974" y="175"/>
                </a:lnTo>
                <a:lnTo>
                  <a:pt x="2983" y="196"/>
                </a:lnTo>
                <a:lnTo>
                  <a:pt x="2983" y="637"/>
                </a:lnTo>
                <a:lnTo>
                  <a:pt x="0" y="637"/>
                </a:lnTo>
                <a:lnTo>
                  <a:pt x="0" y="196"/>
                </a:lnTo>
                <a:lnTo>
                  <a:pt x="10" y="175"/>
                </a:lnTo>
                <a:lnTo>
                  <a:pt x="35" y="154"/>
                </a:lnTo>
                <a:lnTo>
                  <a:pt x="77" y="133"/>
                </a:lnTo>
                <a:lnTo>
                  <a:pt x="133" y="114"/>
                </a:lnTo>
                <a:lnTo>
                  <a:pt x="205" y="96"/>
                </a:lnTo>
                <a:lnTo>
                  <a:pt x="289" y="79"/>
                </a:lnTo>
                <a:lnTo>
                  <a:pt x="384" y="63"/>
                </a:lnTo>
                <a:lnTo>
                  <a:pt x="494" y="49"/>
                </a:lnTo>
                <a:lnTo>
                  <a:pt x="610" y="37"/>
                </a:lnTo>
                <a:lnTo>
                  <a:pt x="738" y="26"/>
                </a:lnTo>
                <a:lnTo>
                  <a:pt x="875" y="16"/>
                </a:lnTo>
                <a:lnTo>
                  <a:pt x="1019" y="9"/>
                </a:lnTo>
                <a:lnTo>
                  <a:pt x="1171" y="5"/>
                </a:lnTo>
                <a:lnTo>
                  <a:pt x="132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7">
            <a:extLst>
              <a:ext uri="{FF2B5EF4-FFF2-40B4-BE49-F238E27FC236}">
                <a16:creationId xmlns:a16="http://schemas.microsoft.com/office/drawing/2014/main" id="{C30115AD-B707-4CF9-A747-D3623D3C6BF8}"/>
              </a:ext>
            </a:extLst>
          </p:cNvPr>
          <p:cNvSpPr>
            <a:spLocks/>
          </p:cNvSpPr>
          <p:nvPr/>
        </p:nvSpPr>
        <p:spPr bwMode="auto">
          <a:xfrm>
            <a:off x="4332284" y="2738700"/>
            <a:ext cx="3473735" cy="454159"/>
          </a:xfrm>
          <a:custGeom>
            <a:avLst/>
            <a:gdLst/>
            <a:ahLst/>
            <a:cxnLst>
              <a:cxn ang="0">
                <a:pos x="1329" y="0"/>
              </a:cxn>
              <a:cxn ang="0">
                <a:pos x="1655" y="0"/>
              </a:cxn>
              <a:cxn ang="0">
                <a:pos x="1813" y="4"/>
              </a:cxn>
              <a:cxn ang="0">
                <a:pos x="1964" y="9"/>
              </a:cxn>
              <a:cxn ang="0">
                <a:pos x="2108" y="16"/>
              </a:cxn>
              <a:cxn ang="0">
                <a:pos x="2246" y="25"/>
              </a:cxn>
              <a:cxn ang="0">
                <a:pos x="2374" y="37"/>
              </a:cxn>
              <a:cxn ang="0">
                <a:pos x="2490" y="49"/>
              </a:cxn>
              <a:cxn ang="0">
                <a:pos x="2599" y="63"/>
              </a:cxn>
              <a:cxn ang="0">
                <a:pos x="2695" y="79"/>
              </a:cxn>
              <a:cxn ang="0">
                <a:pos x="2778" y="95"/>
              </a:cxn>
              <a:cxn ang="0">
                <a:pos x="2851" y="114"/>
              </a:cxn>
              <a:cxn ang="0">
                <a:pos x="2906" y="133"/>
              </a:cxn>
              <a:cxn ang="0">
                <a:pos x="2948" y="151"/>
              </a:cxn>
              <a:cxn ang="0">
                <a:pos x="2974" y="172"/>
              </a:cxn>
              <a:cxn ang="0">
                <a:pos x="2983" y="193"/>
              </a:cxn>
              <a:cxn ang="0">
                <a:pos x="2974" y="214"/>
              </a:cxn>
              <a:cxn ang="0">
                <a:pos x="2948" y="235"/>
              </a:cxn>
              <a:cxn ang="0">
                <a:pos x="2906" y="254"/>
              </a:cxn>
              <a:cxn ang="0">
                <a:pos x="2851" y="275"/>
              </a:cxn>
              <a:cxn ang="0">
                <a:pos x="2778" y="292"/>
              </a:cxn>
              <a:cxn ang="0">
                <a:pos x="2695" y="308"/>
              </a:cxn>
              <a:cxn ang="0">
                <a:pos x="2599" y="324"/>
              </a:cxn>
              <a:cxn ang="0">
                <a:pos x="2490" y="338"/>
              </a:cxn>
              <a:cxn ang="0">
                <a:pos x="2374" y="352"/>
              </a:cxn>
              <a:cxn ang="0">
                <a:pos x="2246" y="362"/>
              </a:cxn>
              <a:cxn ang="0">
                <a:pos x="2108" y="371"/>
              </a:cxn>
              <a:cxn ang="0">
                <a:pos x="1964" y="380"/>
              </a:cxn>
              <a:cxn ang="0">
                <a:pos x="1813" y="385"/>
              </a:cxn>
              <a:cxn ang="0">
                <a:pos x="1655" y="390"/>
              </a:cxn>
              <a:cxn ang="0">
                <a:pos x="1329" y="390"/>
              </a:cxn>
              <a:cxn ang="0">
                <a:pos x="1171" y="385"/>
              </a:cxn>
              <a:cxn ang="0">
                <a:pos x="1019" y="380"/>
              </a:cxn>
              <a:cxn ang="0">
                <a:pos x="875" y="371"/>
              </a:cxn>
              <a:cxn ang="0">
                <a:pos x="738" y="362"/>
              </a:cxn>
              <a:cxn ang="0">
                <a:pos x="610" y="352"/>
              </a:cxn>
              <a:cxn ang="0">
                <a:pos x="494" y="338"/>
              </a:cxn>
              <a:cxn ang="0">
                <a:pos x="384" y="324"/>
              </a:cxn>
              <a:cxn ang="0">
                <a:pos x="289" y="308"/>
              </a:cxn>
              <a:cxn ang="0">
                <a:pos x="205" y="292"/>
              </a:cxn>
              <a:cxn ang="0">
                <a:pos x="133" y="275"/>
              </a:cxn>
              <a:cxn ang="0">
                <a:pos x="77" y="254"/>
              </a:cxn>
              <a:cxn ang="0">
                <a:pos x="35" y="235"/>
              </a:cxn>
              <a:cxn ang="0">
                <a:pos x="10" y="214"/>
              </a:cxn>
              <a:cxn ang="0">
                <a:pos x="0" y="193"/>
              </a:cxn>
              <a:cxn ang="0">
                <a:pos x="10" y="172"/>
              </a:cxn>
              <a:cxn ang="0">
                <a:pos x="35" y="151"/>
              </a:cxn>
              <a:cxn ang="0">
                <a:pos x="77" y="133"/>
              </a:cxn>
              <a:cxn ang="0">
                <a:pos x="133" y="114"/>
              </a:cxn>
              <a:cxn ang="0">
                <a:pos x="205" y="95"/>
              </a:cxn>
              <a:cxn ang="0">
                <a:pos x="289" y="79"/>
              </a:cxn>
              <a:cxn ang="0">
                <a:pos x="384" y="63"/>
              </a:cxn>
              <a:cxn ang="0">
                <a:pos x="494" y="49"/>
              </a:cxn>
              <a:cxn ang="0">
                <a:pos x="610" y="37"/>
              </a:cxn>
              <a:cxn ang="0">
                <a:pos x="738" y="25"/>
              </a:cxn>
              <a:cxn ang="0">
                <a:pos x="875" y="16"/>
              </a:cxn>
              <a:cxn ang="0">
                <a:pos x="1019" y="9"/>
              </a:cxn>
              <a:cxn ang="0">
                <a:pos x="1171" y="4"/>
              </a:cxn>
              <a:cxn ang="0">
                <a:pos x="1329" y="0"/>
              </a:cxn>
            </a:cxnLst>
            <a:rect l="0" t="0" r="r" b="b"/>
            <a:pathLst>
              <a:path w="2983" h="390">
                <a:moveTo>
                  <a:pt x="1329" y="0"/>
                </a:moveTo>
                <a:lnTo>
                  <a:pt x="1655" y="0"/>
                </a:lnTo>
                <a:lnTo>
                  <a:pt x="1813" y="4"/>
                </a:lnTo>
                <a:lnTo>
                  <a:pt x="1964" y="9"/>
                </a:lnTo>
                <a:lnTo>
                  <a:pt x="2108" y="16"/>
                </a:lnTo>
                <a:lnTo>
                  <a:pt x="2246" y="25"/>
                </a:lnTo>
                <a:lnTo>
                  <a:pt x="2374" y="37"/>
                </a:lnTo>
                <a:lnTo>
                  <a:pt x="2490" y="49"/>
                </a:lnTo>
                <a:lnTo>
                  <a:pt x="2599" y="63"/>
                </a:lnTo>
                <a:lnTo>
                  <a:pt x="2695" y="79"/>
                </a:lnTo>
                <a:lnTo>
                  <a:pt x="2778" y="95"/>
                </a:lnTo>
                <a:lnTo>
                  <a:pt x="2851" y="114"/>
                </a:lnTo>
                <a:lnTo>
                  <a:pt x="2906" y="133"/>
                </a:lnTo>
                <a:lnTo>
                  <a:pt x="2948" y="151"/>
                </a:lnTo>
                <a:lnTo>
                  <a:pt x="2974" y="172"/>
                </a:lnTo>
                <a:lnTo>
                  <a:pt x="2983" y="193"/>
                </a:lnTo>
                <a:lnTo>
                  <a:pt x="2974" y="214"/>
                </a:lnTo>
                <a:lnTo>
                  <a:pt x="2948" y="235"/>
                </a:lnTo>
                <a:lnTo>
                  <a:pt x="2906" y="254"/>
                </a:lnTo>
                <a:lnTo>
                  <a:pt x="2851" y="275"/>
                </a:lnTo>
                <a:lnTo>
                  <a:pt x="2778" y="292"/>
                </a:lnTo>
                <a:lnTo>
                  <a:pt x="2695" y="308"/>
                </a:lnTo>
                <a:lnTo>
                  <a:pt x="2599" y="324"/>
                </a:lnTo>
                <a:lnTo>
                  <a:pt x="2490" y="338"/>
                </a:lnTo>
                <a:lnTo>
                  <a:pt x="2374" y="352"/>
                </a:lnTo>
                <a:lnTo>
                  <a:pt x="2246" y="362"/>
                </a:lnTo>
                <a:lnTo>
                  <a:pt x="2108" y="371"/>
                </a:lnTo>
                <a:lnTo>
                  <a:pt x="1964" y="380"/>
                </a:lnTo>
                <a:lnTo>
                  <a:pt x="1813" y="385"/>
                </a:lnTo>
                <a:lnTo>
                  <a:pt x="1655" y="390"/>
                </a:lnTo>
                <a:lnTo>
                  <a:pt x="1329" y="390"/>
                </a:lnTo>
                <a:lnTo>
                  <a:pt x="1171" y="385"/>
                </a:lnTo>
                <a:lnTo>
                  <a:pt x="1019" y="380"/>
                </a:lnTo>
                <a:lnTo>
                  <a:pt x="875" y="371"/>
                </a:lnTo>
                <a:lnTo>
                  <a:pt x="738" y="362"/>
                </a:lnTo>
                <a:lnTo>
                  <a:pt x="610" y="352"/>
                </a:lnTo>
                <a:lnTo>
                  <a:pt x="494" y="338"/>
                </a:lnTo>
                <a:lnTo>
                  <a:pt x="384" y="324"/>
                </a:lnTo>
                <a:lnTo>
                  <a:pt x="289" y="308"/>
                </a:lnTo>
                <a:lnTo>
                  <a:pt x="205" y="292"/>
                </a:lnTo>
                <a:lnTo>
                  <a:pt x="133" y="275"/>
                </a:lnTo>
                <a:lnTo>
                  <a:pt x="77" y="254"/>
                </a:lnTo>
                <a:lnTo>
                  <a:pt x="35" y="235"/>
                </a:lnTo>
                <a:lnTo>
                  <a:pt x="10" y="214"/>
                </a:lnTo>
                <a:lnTo>
                  <a:pt x="0" y="193"/>
                </a:lnTo>
                <a:lnTo>
                  <a:pt x="10" y="172"/>
                </a:lnTo>
                <a:lnTo>
                  <a:pt x="35" y="151"/>
                </a:lnTo>
                <a:lnTo>
                  <a:pt x="77" y="133"/>
                </a:lnTo>
                <a:lnTo>
                  <a:pt x="133" y="114"/>
                </a:lnTo>
                <a:lnTo>
                  <a:pt x="205" y="95"/>
                </a:lnTo>
                <a:lnTo>
                  <a:pt x="289" y="79"/>
                </a:lnTo>
                <a:lnTo>
                  <a:pt x="384" y="63"/>
                </a:lnTo>
                <a:lnTo>
                  <a:pt x="494" y="49"/>
                </a:lnTo>
                <a:lnTo>
                  <a:pt x="610" y="37"/>
                </a:lnTo>
                <a:lnTo>
                  <a:pt x="738" y="25"/>
                </a:lnTo>
                <a:lnTo>
                  <a:pt x="875" y="16"/>
                </a:lnTo>
                <a:lnTo>
                  <a:pt x="1019" y="9"/>
                </a:lnTo>
                <a:lnTo>
                  <a:pt x="1171" y="4"/>
                </a:lnTo>
                <a:lnTo>
                  <a:pt x="1329"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2">
            <a:extLst>
              <a:ext uri="{FF2B5EF4-FFF2-40B4-BE49-F238E27FC236}">
                <a16:creationId xmlns:a16="http://schemas.microsoft.com/office/drawing/2014/main" id="{99B6D50A-B294-4D0F-8B1E-9B38F1A523C9}"/>
              </a:ext>
            </a:extLst>
          </p:cNvPr>
          <p:cNvSpPr>
            <a:spLocks/>
          </p:cNvSpPr>
          <p:nvPr/>
        </p:nvSpPr>
        <p:spPr bwMode="auto">
          <a:xfrm>
            <a:off x="4619918" y="3007703"/>
            <a:ext cx="2899632" cy="709187"/>
          </a:xfrm>
          <a:custGeom>
            <a:avLst/>
            <a:gdLst/>
            <a:ahLst/>
            <a:cxnLst>
              <a:cxn ang="0">
                <a:pos x="1100" y="0"/>
              </a:cxn>
              <a:cxn ang="0">
                <a:pos x="1389" y="0"/>
              </a:cxn>
              <a:cxn ang="0">
                <a:pos x="1531" y="4"/>
              </a:cxn>
              <a:cxn ang="0">
                <a:pos x="1666" y="9"/>
              </a:cxn>
              <a:cxn ang="0">
                <a:pos x="1794" y="16"/>
              </a:cxn>
              <a:cxn ang="0">
                <a:pos x="1913" y="26"/>
              </a:cxn>
              <a:cxn ang="0">
                <a:pos x="2024" y="37"/>
              </a:cxn>
              <a:cxn ang="0">
                <a:pos x="2127" y="49"/>
              </a:cxn>
              <a:cxn ang="0">
                <a:pos x="2217" y="61"/>
              </a:cxn>
              <a:cxn ang="0">
                <a:pos x="2296" y="77"/>
              </a:cxn>
              <a:cxn ang="0">
                <a:pos x="2364" y="93"/>
              </a:cxn>
              <a:cxn ang="0">
                <a:pos x="2417" y="110"/>
              </a:cxn>
              <a:cxn ang="0">
                <a:pos x="2457" y="126"/>
              </a:cxn>
              <a:cxn ang="0">
                <a:pos x="2480" y="145"/>
              </a:cxn>
              <a:cxn ang="0">
                <a:pos x="2490" y="163"/>
              </a:cxn>
              <a:cxn ang="0">
                <a:pos x="2490" y="609"/>
              </a:cxn>
              <a:cxn ang="0">
                <a:pos x="0" y="609"/>
              </a:cxn>
              <a:cxn ang="0">
                <a:pos x="0" y="163"/>
              </a:cxn>
              <a:cxn ang="0">
                <a:pos x="9" y="145"/>
              </a:cxn>
              <a:cxn ang="0">
                <a:pos x="33" y="126"/>
              </a:cxn>
              <a:cxn ang="0">
                <a:pos x="72" y="110"/>
              </a:cxn>
              <a:cxn ang="0">
                <a:pos x="126" y="93"/>
              </a:cxn>
              <a:cxn ang="0">
                <a:pos x="193" y="77"/>
              </a:cxn>
              <a:cxn ang="0">
                <a:pos x="272" y="61"/>
              </a:cxn>
              <a:cxn ang="0">
                <a:pos x="365" y="49"/>
              </a:cxn>
              <a:cxn ang="0">
                <a:pos x="465" y="37"/>
              </a:cxn>
              <a:cxn ang="0">
                <a:pos x="577" y="26"/>
              </a:cxn>
              <a:cxn ang="0">
                <a:pos x="696" y="16"/>
              </a:cxn>
              <a:cxn ang="0">
                <a:pos x="824" y="9"/>
              </a:cxn>
              <a:cxn ang="0">
                <a:pos x="959" y="4"/>
              </a:cxn>
              <a:cxn ang="0">
                <a:pos x="1100" y="0"/>
              </a:cxn>
            </a:cxnLst>
            <a:rect l="0" t="0" r="r" b="b"/>
            <a:pathLst>
              <a:path w="2490" h="609">
                <a:moveTo>
                  <a:pt x="1100" y="0"/>
                </a:moveTo>
                <a:lnTo>
                  <a:pt x="1389" y="0"/>
                </a:lnTo>
                <a:lnTo>
                  <a:pt x="1531" y="4"/>
                </a:lnTo>
                <a:lnTo>
                  <a:pt x="1666" y="9"/>
                </a:lnTo>
                <a:lnTo>
                  <a:pt x="1794" y="16"/>
                </a:lnTo>
                <a:lnTo>
                  <a:pt x="1913" y="26"/>
                </a:lnTo>
                <a:lnTo>
                  <a:pt x="2024" y="37"/>
                </a:lnTo>
                <a:lnTo>
                  <a:pt x="2127" y="49"/>
                </a:lnTo>
                <a:lnTo>
                  <a:pt x="2217" y="61"/>
                </a:lnTo>
                <a:lnTo>
                  <a:pt x="2296" y="77"/>
                </a:lnTo>
                <a:lnTo>
                  <a:pt x="2364" y="93"/>
                </a:lnTo>
                <a:lnTo>
                  <a:pt x="2417" y="110"/>
                </a:lnTo>
                <a:lnTo>
                  <a:pt x="2457" y="126"/>
                </a:lnTo>
                <a:lnTo>
                  <a:pt x="2480" y="145"/>
                </a:lnTo>
                <a:lnTo>
                  <a:pt x="2490" y="163"/>
                </a:lnTo>
                <a:lnTo>
                  <a:pt x="2490" y="609"/>
                </a:lnTo>
                <a:lnTo>
                  <a:pt x="0" y="609"/>
                </a:lnTo>
                <a:lnTo>
                  <a:pt x="0" y="163"/>
                </a:lnTo>
                <a:lnTo>
                  <a:pt x="9" y="145"/>
                </a:lnTo>
                <a:lnTo>
                  <a:pt x="33" y="126"/>
                </a:lnTo>
                <a:lnTo>
                  <a:pt x="72" y="110"/>
                </a:lnTo>
                <a:lnTo>
                  <a:pt x="126" y="93"/>
                </a:lnTo>
                <a:lnTo>
                  <a:pt x="193" y="77"/>
                </a:lnTo>
                <a:lnTo>
                  <a:pt x="272" y="61"/>
                </a:lnTo>
                <a:lnTo>
                  <a:pt x="365" y="49"/>
                </a:lnTo>
                <a:lnTo>
                  <a:pt x="465" y="37"/>
                </a:lnTo>
                <a:lnTo>
                  <a:pt x="577" y="26"/>
                </a:lnTo>
                <a:lnTo>
                  <a:pt x="696" y="16"/>
                </a:lnTo>
                <a:lnTo>
                  <a:pt x="824" y="9"/>
                </a:lnTo>
                <a:lnTo>
                  <a:pt x="959" y="4"/>
                </a:lnTo>
                <a:lnTo>
                  <a:pt x="1100"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3">
            <a:extLst>
              <a:ext uri="{FF2B5EF4-FFF2-40B4-BE49-F238E27FC236}">
                <a16:creationId xmlns:a16="http://schemas.microsoft.com/office/drawing/2014/main" id="{0C1E9E94-3187-4E28-A3E8-6D938E1E36FC}"/>
              </a:ext>
            </a:extLst>
          </p:cNvPr>
          <p:cNvSpPr>
            <a:spLocks/>
          </p:cNvSpPr>
          <p:nvPr/>
        </p:nvSpPr>
        <p:spPr bwMode="auto">
          <a:xfrm>
            <a:off x="4619918" y="3527075"/>
            <a:ext cx="2899632" cy="377302"/>
          </a:xfrm>
          <a:custGeom>
            <a:avLst/>
            <a:gdLst/>
            <a:ahLst/>
            <a:cxnLst>
              <a:cxn ang="0">
                <a:pos x="1100" y="0"/>
              </a:cxn>
              <a:cxn ang="0">
                <a:pos x="1389" y="0"/>
              </a:cxn>
              <a:cxn ang="0">
                <a:pos x="1531" y="4"/>
              </a:cxn>
              <a:cxn ang="0">
                <a:pos x="1666" y="9"/>
              </a:cxn>
              <a:cxn ang="0">
                <a:pos x="1794" y="16"/>
              </a:cxn>
              <a:cxn ang="0">
                <a:pos x="1913" y="25"/>
              </a:cxn>
              <a:cxn ang="0">
                <a:pos x="2024" y="35"/>
              </a:cxn>
              <a:cxn ang="0">
                <a:pos x="2127" y="46"/>
              </a:cxn>
              <a:cxn ang="0">
                <a:pos x="2217" y="61"/>
              </a:cxn>
              <a:cxn ang="0">
                <a:pos x="2296" y="75"/>
              </a:cxn>
              <a:cxn ang="0">
                <a:pos x="2364" y="91"/>
              </a:cxn>
              <a:cxn ang="0">
                <a:pos x="2417" y="107"/>
              </a:cxn>
              <a:cxn ang="0">
                <a:pos x="2457" y="126"/>
              </a:cxn>
              <a:cxn ang="0">
                <a:pos x="2480" y="145"/>
              </a:cxn>
              <a:cxn ang="0">
                <a:pos x="2490" y="163"/>
              </a:cxn>
              <a:cxn ang="0">
                <a:pos x="2480" y="182"/>
              </a:cxn>
              <a:cxn ang="0">
                <a:pos x="2457" y="201"/>
              </a:cxn>
              <a:cxn ang="0">
                <a:pos x="2417" y="217"/>
              </a:cxn>
              <a:cxn ang="0">
                <a:pos x="2364" y="233"/>
              </a:cxn>
              <a:cxn ang="0">
                <a:pos x="2296" y="250"/>
              </a:cxn>
              <a:cxn ang="0">
                <a:pos x="2217" y="264"/>
              </a:cxn>
              <a:cxn ang="0">
                <a:pos x="2127" y="278"/>
              </a:cxn>
              <a:cxn ang="0">
                <a:pos x="2024" y="289"/>
              </a:cxn>
              <a:cxn ang="0">
                <a:pos x="1913" y="299"/>
              </a:cxn>
              <a:cxn ang="0">
                <a:pos x="1794" y="308"/>
              </a:cxn>
              <a:cxn ang="0">
                <a:pos x="1666" y="315"/>
              </a:cxn>
              <a:cxn ang="0">
                <a:pos x="1531" y="320"/>
              </a:cxn>
              <a:cxn ang="0">
                <a:pos x="1389" y="324"/>
              </a:cxn>
              <a:cxn ang="0">
                <a:pos x="1100" y="324"/>
              </a:cxn>
              <a:cxn ang="0">
                <a:pos x="959" y="320"/>
              </a:cxn>
              <a:cxn ang="0">
                <a:pos x="824" y="315"/>
              </a:cxn>
              <a:cxn ang="0">
                <a:pos x="696" y="308"/>
              </a:cxn>
              <a:cxn ang="0">
                <a:pos x="577" y="299"/>
              </a:cxn>
              <a:cxn ang="0">
                <a:pos x="465" y="289"/>
              </a:cxn>
              <a:cxn ang="0">
                <a:pos x="365" y="278"/>
              </a:cxn>
              <a:cxn ang="0">
                <a:pos x="272" y="264"/>
              </a:cxn>
              <a:cxn ang="0">
                <a:pos x="193" y="250"/>
              </a:cxn>
              <a:cxn ang="0">
                <a:pos x="126" y="233"/>
              </a:cxn>
              <a:cxn ang="0">
                <a:pos x="72" y="217"/>
              </a:cxn>
              <a:cxn ang="0">
                <a:pos x="33" y="201"/>
              </a:cxn>
              <a:cxn ang="0">
                <a:pos x="9" y="182"/>
              </a:cxn>
              <a:cxn ang="0">
                <a:pos x="0" y="163"/>
              </a:cxn>
              <a:cxn ang="0">
                <a:pos x="9" y="145"/>
              </a:cxn>
              <a:cxn ang="0">
                <a:pos x="33" y="126"/>
              </a:cxn>
              <a:cxn ang="0">
                <a:pos x="72" y="107"/>
              </a:cxn>
              <a:cxn ang="0">
                <a:pos x="126" y="91"/>
              </a:cxn>
              <a:cxn ang="0">
                <a:pos x="193" y="75"/>
              </a:cxn>
              <a:cxn ang="0">
                <a:pos x="272" y="61"/>
              </a:cxn>
              <a:cxn ang="0">
                <a:pos x="365" y="46"/>
              </a:cxn>
              <a:cxn ang="0">
                <a:pos x="465" y="35"/>
              </a:cxn>
              <a:cxn ang="0">
                <a:pos x="577" y="25"/>
              </a:cxn>
              <a:cxn ang="0">
                <a:pos x="696" y="16"/>
              </a:cxn>
              <a:cxn ang="0">
                <a:pos x="824" y="9"/>
              </a:cxn>
              <a:cxn ang="0">
                <a:pos x="959" y="4"/>
              </a:cxn>
              <a:cxn ang="0">
                <a:pos x="1100" y="0"/>
              </a:cxn>
            </a:cxnLst>
            <a:rect l="0" t="0" r="r" b="b"/>
            <a:pathLst>
              <a:path w="2490" h="324">
                <a:moveTo>
                  <a:pt x="1100" y="0"/>
                </a:moveTo>
                <a:lnTo>
                  <a:pt x="1389" y="0"/>
                </a:lnTo>
                <a:lnTo>
                  <a:pt x="1531" y="4"/>
                </a:lnTo>
                <a:lnTo>
                  <a:pt x="1666" y="9"/>
                </a:lnTo>
                <a:lnTo>
                  <a:pt x="1794" y="16"/>
                </a:lnTo>
                <a:lnTo>
                  <a:pt x="1913" y="25"/>
                </a:lnTo>
                <a:lnTo>
                  <a:pt x="2024" y="35"/>
                </a:lnTo>
                <a:lnTo>
                  <a:pt x="2127" y="46"/>
                </a:lnTo>
                <a:lnTo>
                  <a:pt x="2217" y="61"/>
                </a:lnTo>
                <a:lnTo>
                  <a:pt x="2296" y="75"/>
                </a:lnTo>
                <a:lnTo>
                  <a:pt x="2364" y="91"/>
                </a:lnTo>
                <a:lnTo>
                  <a:pt x="2417" y="107"/>
                </a:lnTo>
                <a:lnTo>
                  <a:pt x="2457" y="126"/>
                </a:lnTo>
                <a:lnTo>
                  <a:pt x="2480" y="145"/>
                </a:lnTo>
                <a:lnTo>
                  <a:pt x="2490" y="163"/>
                </a:lnTo>
                <a:lnTo>
                  <a:pt x="2480" y="182"/>
                </a:lnTo>
                <a:lnTo>
                  <a:pt x="2457" y="201"/>
                </a:lnTo>
                <a:lnTo>
                  <a:pt x="2417" y="217"/>
                </a:lnTo>
                <a:lnTo>
                  <a:pt x="2364" y="233"/>
                </a:lnTo>
                <a:lnTo>
                  <a:pt x="2296" y="250"/>
                </a:lnTo>
                <a:lnTo>
                  <a:pt x="2217" y="264"/>
                </a:lnTo>
                <a:lnTo>
                  <a:pt x="2127" y="278"/>
                </a:lnTo>
                <a:lnTo>
                  <a:pt x="2024" y="289"/>
                </a:lnTo>
                <a:lnTo>
                  <a:pt x="1913" y="299"/>
                </a:lnTo>
                <a:lnTo>
                  <a:pt x="1794" y="308"/>
                </a:lnTo>
                <a:lnTo>
                  <a:pt x="1666" y="315"/>
                </a:lnTo>
                <a:lnTo>
                  <a:pt x="1531" y="320"/>
                </a:lnTo>
                <a:lnTo>
                  <a:pt x="1389" y="324"/>
                </a:lnTo>
                <a:lnTo>
                  <a:pt x="1100" y="324"/>
                </a:lnTo>
                <a:lnTo>
                  <a:pt x="959" y="320"/>
                </a:lnTo>
                <a:lnTo>
                  <a:pt x="824" y="315"/>
                </a:lnTo>
                <a:lnTo>
                  <a:pt x="696" y="308"/>
                </a:lnTo>
                <a:lnTo>
                  <a:pt x="577" y="299"/>
                </a:lnTo>
                <a:lnTo>
                  <a:pt x="465" y="289"/>
                </a:lnTo>
                <a:lnTo>
                  <a:pt x="365" y="278"/>
                </a:lnTo>
                <a:lnTo>
                  <a:pt x="272" y="264"/>
                </a:lnTo>
                <a:lnTo>
                  <a:pt x="193" y="250"/>
                </a:lnTo>
                <a:lnTo>
                  <a:pt x="126" y="233"/>
                </a:lnTo>
                <a:lnTo>
                  <a:pt x="72" y="217"/>
                </a:lnTo>
                <a:lnTo>
                  <a:pt x="33" y="201"/>
                </a:lnTo>
                <a:lnTo>
                  <a:pt x="9" y="182"/>
                </a:lnTo>
                <a:lnTo>
                  <a:pt x="0" y="163"/>
                </a:lnTo>
                <a:lnTo>
                  <a:pt x="9" y="145"/>
                </a:lnTo>
                <a:lnTo>
                  <a:pt x="33" y="126"/>
                </a:lnTo>
                <a:lnTo>
                  <a:pt x="72" y="107"/>
                </a:lnTo>
                <a:lnTo>
                  <a:pt x="126" y="91"/>
                </a:lnTo>
                <a:lnTo>
                  <a:pt x="193" y="75"/>
                </a:lnTo>
                <a:lnTo>
                  <a:pt x="272" y="61"/>
                </a:lnTo>
                <a:lnTo>
                  <a:pt x="365" y="46"/>
                </a:lnTo>
                <a:lnTo>
                  <a:pt x="465" y="35"/>
                </a:lnTo>
                <a:lnTo>
                  <a:pt x="577" y="25"/>
                </a:lnTo>
                <a:lnTo>
                  <a:pt x="696" y="16"/>
                </a:lnTo>
                <a:lnTo>
                  <a:pt x="824" y="9"/>
                </a:lnTo>
                <a:lnTo>
                  <a:pt x="959" y="4"/>
                </a:lnTo>
                <a:lnTo>
                  <a:pt x="1100"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4">
            <a:extLst>
              <a:ext uri="{FF2B5EF4-FFF2-40B4-BE49-F238E27FC236}">
                <a16:creationId xmlns:a16="http://schemas.microsoft.com/office/drawing/2014/main" id="{DF8F2D9C-C6D5-420E-A6CA-DABA3F278C41}"/>
              </a:ext>
            </a:extLst>
          </p:cNvPr>
          <p:cNvSpPr>
            <a:spLocks/>
          </p:cNvSpPr>
          <p:nvPr/>
        </p:nvSpPr>
        <p:spPr bwMode="auto">
          <a:xfrm>
            <a:off x="4874946" y="3779773"/>
            <a:ext cx="2389576" cy="671924"/>
          </a:xfrm>
          <a:custGeom>
            <a:avLst/>
            <a:gdLst/>
            <a:ahLst/>
            <a:cxnLst>
              <a:cxn ang="0">
                <a:pos x="898" y="0"/>
              </a:cxn>
              <a:cxn ang="0">
                <a:pos x="1154" y="0"/>
              </a:cxn>
              <a:cxn ang="0">
                <a:pos x="1279" y="5"/>
              </a:cxn>
              <a:cxn ang="0">
                <a:pos x="1398" y="9"/>
              </a:cxn>
              <a:cxn ang="0">
                <a:pos x="1510" y="16"/>
              </a:cxn>
              <a:cxn ang="0">
                <a:pos x="1612" y="23"/>
              </a:cxn>
              <a:cxn ang="0">
                <a:pos x="1707" y="35"/>
              </a:cxn>
              <a:cxn ang="0">
                <a:pos x="1794" y="44"/>
              </a:cxn>
              <a:cxn ang="0">
                <a:pos x="1868" y="58"/>
              </a:cxn>
              <a:cxn ang="0">
                <a:pos x="1931" y="72"/>
              </a:cxn>
              <a:cxn ang="0">
                <a:pos x="1982" y="86"/>
              </a:cxn>
              <a:cxn ang="0">
                <a:pos x="2022" y="103"/>
              </a:cxn>
              <a:cxn ang="0">
                <a:pos x="2045" y="119"/>
              </a:cxn>
              <a:cxn ang="0">
                <a:pos x="2052" y="135"/>
              </a:cxn>
              <a:cxn ang="0">
                <a:pos x="2052" y="577"/>
              </a:cxn>
              <a:cxn ang="0">
                <a:pos x="0" y="577"/>
              </a:cxn>
              <a:cxn ang="0">
                <a:pos x="0" y="135"/>
              </a:cxn>
              <a:cxn ang="0">
                <a:pos x="7" y="119"/>
              </a:cxn>
              <a:cxn ang="0">
                <a:pos x="30" y="103"/>
              </a:cxn>
              <a:cxn ang="0">
                <a:pos x="69" y="86"/>
              </a:cxn>
              <a:cxn ang="0">
                <a:pos x="121" y="72"/>
              </a:cxn>
              <a:cxn ang="0">
                <a:pos x="183" y="58"/>
              </a:cxn>
              <a:cxn ang="0">
                <a:pos x="258" y="44"/>
              </a:cxn>
              <a:cxn ang="0">
                <a:pos x="344" y="35"/>
              </a:cxn>
              <a:cxn ang="0">
                <a:pos x="439" y="23"/>
              </a:cxn>
              <a:cxn ang="0">
                <a:pos x="542" y="16"/>
              </a:cxn>
              <a:cxn ang="0">
                <a:pos x="653" y="9"/>
              </a:cxn>
              <a:cxn ang="0">
                <a:pos x="772" y="5"/>
              </a:cxn>
              <a:cxn ang="0">
                <a:pos x="898" y="0"/>
              </a:cxn>
            </a:cxnLst>
            <a:rect l="0" t="0" r="r" b="b"/>
            <a:pathLst>
              <a:path w="2052" h="577">
                <a:moveTo>
                  <a:pt x="898" y="0"/>
                </a:moveTo>
                <a:lnTo>
                  <a:pt x="1154" y="0"/>
                </a:lnTo>
                <a:lnTo>
                  <a:pt x="1279" y="5"/>
                </a:lnTo>
                <a:lnTo>
                  <a:pt x="1398" y="9"/>
                </a:lnTo>
                <a:lnTo>
                  <a:pt x="1510" y="16"/>
                </a:lnTo>
                <a:lnTo>
                  <a:pt x="1612" y="23"/>
                </a:lnTo>
                <a:lnTo>
                  <a:pt x="1707" y="35"/>
                </a:lnTo>
                <a:lnTo>
                  <a:pt x="1794" y="44"/>
                </a:lnTo>
                <a:lnTo>
                  <a:pt x="1868" y="58"/>
                </a:lnTo>
                <a:lnTo>
                  <a:pt x="1931" y="72"/>
                </a:lnTo>
                <a:lnTo>
                  <a:pt x="1982" y="86"/>
                </a:lnTo>
                <a:lnTo>
                  <a:pt x="2022" y="103"/>
                </a:lnTo>
                <a:lnTo>
                  <a:pt x="2045" y="119"/>
                </a:lnTo>
                <a:lnTo>
                  <a:pt x="2052" y="135"/>
                </a:lnTo>
                <a:lnTo>
                  <a:pt x="2052" y="577"/>
                </a:lnTo>
                <a:lnTo>
                  <a:pt x="0" y="577"/>
                </a:lnTo>
                <a:lnTo>
                  <a:pt x="0" y="135"/>
                </a:lnTo>
                <a:lnTo>
                  <a:pt x="7" y="119"/>
                </a:lnTo>
                <a:lnTo>
                  <a:pt x="30" y="103"/>
                </a:lnTo>
                <a:lnTo>
                  <a:pt x="69" y="86"/>
                </a:lnTo>
                <a:lnTo>
                  <a:pt x="121" y="72"/>
                </a:lnTo>
                <a:lnTo>
                  <a:pt x="183" y="58"/>
                </a:lnTo>
                <a:lnTo>
                  <a:pt x="258" y="44"/>
                </a:lnTo>
                <a:lnTo>
                  <a:pt x="344" y="35"/>
                </a:lnTo>
                <a:lnTo>
                  <a:pt x="439" y="23"/>
                </a:lnTo>
                <a:lnTo>
                  <a:pt x="542" y="16"/>
                </a:lnTo>
                <a:lnTo>
                  <a:pt x="653" y="9"/>
                </a:lnTo>
                <a:lnTo>
                  <a:pt x="772" y="5"/>
                </a:lnTo>
                <a:lnTo>
                  <a:pt x="898" y="0"/>
                </a:lnTo>
                <a:close/>
              </a:path>
            </a:pathLst>
          </a:custGeom>
          <a:solidFill>
            <a:schemeClr val="tx2">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5">
            <a:extLst>
              <a:ext uri="{FF2B5EF4-FFF2-40B4-BE49-F238E27FC236}">
                <a16:creationId xmlns:a16="http://schemas.microsoft.com/office/drawing/2014/main" id="{8B5BE61E-CDDB-4AE1-9944-013194E926A4}"/>
              </a:ext>
            </a:extLst>
          </p:cNvPr>
          <p:cNvSpPr>
            <a:spLocks/>
          </p:cNvSpPr>
          <p:nvPr/>
        </p:nvSpPr>
        <p:spPr bwMode="auto">
          <a:xfrm>
            <a:off x="4874946" y="4293323"/>
            <a:ext cx="2389576" cy="313253"/>
          </a:xfrm>
          <a:custGeom>
            <a:avLst/>
            <a:gdLst/>
            <a:ahLst/>
            <a:cxnLst>
              <a:cxn ang="0">
                <a:pos x="898" y="0"/>
              </a:cxn>
              <a:cxn ang="0">
                <a:pos x="1154" y="0"/>
              </a:cxn>
              <a:cxn ang="0">
                <a:pos x="1279" y="5"/>
              </a:cxn>
              <a:cxn ang="0">
                <a:pos x="1398" y="10"/>
              </a:cxn>
              <a:cxn ang="0">
                <a:pos x="1510" y="17"/>
              </a:cxn>
              <a:cxn ang="0">
                <a:pos x="1612" y="24"/>
              </a:cxn>
              <a:cxn ang="0">
                <a:pos x="1707" y="35"/>
              </a:cxn>
              <a:cxn ang="0">
                <a:pos x="1794" y="45"/>
              </a:cxn>
              <a:cxn ang="0">
                <a:pos x="1868" y="59"/>
              </a:cxn>
              <a:cxn ang="0">
                <a:pos x="1931" y="73"/>
              </a:cxn>
              <a:cxn ang="0">
                <a:pos x="1982" y="87"/>
              </a:cxn>
              <a:cxn ang="0">
                <a:pos x="2022" y="103"/>
              </a:cxn>
              <a:cxn ang="0">
                <a:pos x="2045" y="119"/>
              </a:cxn>
              <a:cxn ang="0">
                <a:pos x="2052" y="136"/>
              </a:cxn>
              <a:cxn ang="0">
                <a:pos x="2045" y="152"/>
              </a:cxn>
              <a:cxn ang="0">
                <a:pos x="2022" y="168"/>
              </a:cxn>
              <a:cxn ang="0">
                <a:pos x="1982" y="182"/>
              </a:cxn>
              <a:cxn ang="0">
                <a:pos x="1931" y="199"/>
              </a:cxn>
              <a:cxn ang="0">
                <a:pos x="1868" y="210"/>
              </a:cxn>
              <a:cxn ang="0">
                <a:pos x="1794" y="224"/>
              </a:cxn>
              <a:cxn ang="0">
                <a:pos x="1707" y="234"/>
              </a:cxn>
              <a:cxn ang="0">
                <a:pos x="1612" y="245"/>
              </a:cxn>
              <a:cxn ang="0">
                <a:pos x="1510" y="252"/>
              </a:cxn>
              <a:cxn ang="0">
                <a:pos x="1398" y="259"/>
              </a:cxn>
              <a:cxn ang="0">
                <a:pos x="1279" y="264"/>
              </a:cxn>
              <a:cxn ang="0">
                <a:pos x="1154" y="269"/>
              </a:cxn>
              <a:cxn ang="0">
                <a:pos x="898" y="269"/>
              </a:cxn>
              <a:cxn ang="0">
                <a:pos x="772" y="264"/>
              </a:cxn>
              <a:cxn ang="0">
                <a:pos x="653" y="259"/>
              </a:cxn>
              <a:cxn ang="0">
                <a:pos x="542" y="252"/>
              </a:cxn>
              <a:cxn ang="0">
                <a:pos x="439" y="245"/>
              </a:cxn>
              <a:cxn ang="0">
                <a:pos x="344" y="234"/>
              </a:cxn>
              <a:cxn ang="0">
                <a:pos x="258" y="224"/>
              </a:cxn>
              <a:cxn ang="0">
                <a:pos x="183" y="210"/>
              </a:cxn>
              <a:cxn ang="0">
                <a:pos x="121" y="199"/>
              </a:cxn>
              <a:cxn ang="0">
                <a:pos x="69" y="182"/>
              </a:cxn>
              <a:cxn ang="0">
                <a:pos x="30" y="168"/>
              </a:cxn>
              <a:cxn ang="0">
                <a:pos x="7" y="152"/>
              </a:cxn>
              <a:cxn ang="0">
                <a:pos x="0" y="136"/>
              </a:cxn>
              <a:cxn ang="0">
                <a:pos x="7" y="119"/>
              </a:cxn>
              <a:cxn ang="0">
                <a:pos x="30" y="103"/>
              </a:cxn>
              <a:cxn ang="0">
                <a:pos x="69" y="87"/>
              </a:cxn>
              <a:cxn ang="0">
                <a:pos x="121" y="73"/>
              </a:cxn>
              <a:cxn ang="0">
                <a:pos x="183" y="59"/>
              </a:cxn>
              <a:cxn ang="0">
                <a:pos x="258" y="45"/>
              </a:cxn>
              <a:cxn ang="0">
                <a:pos x="344" y="35"/>
              </a:cxn>
              <a:cxn ang="0">
                <a:pos x="439" y="24"/>
              </a:cxn>
              <a:cxn ang="0">
                <a:pos x="542" y="17"/>
              </a:cxn>
              <a:cxn ang="0">
                <a:pos x="653" y="10"/>
              </a:cxn>
              <a:cxn ang="0">
                <a:pos x="772" y="5"/>
              </a:cxn>
              <a:cxn ang="0">
                <a:pos x="898" y="0"/>
              </a:cxn>
            </a:cxnLst>
            <a:rect l="0" t="0" r="r" b="b"/>
            <a:pathLst>
              <a:path w="2052" h="269">
                <a:moveTo>
                  <a:pt x="898" y="0"/>
                </a:moveTo>
                <a:lnTo>
                  <a:pt x="1154" y="0"/>
                </a:lnTo>
                <a:lnTo>
                  <a:pt x="1279" y="5"/>
                </a:lnTo>
                <a:lnTo>
                  <a:pt x="1398" y="10"/>
                </a:lnTo>
                <a:lnTo>
                  <a:pt x="1510" y="17"/>
                </a:lnTo>
                <a:lnTo>
                  <a:pt x="1612" y="24"/>
                </a:lnTo>
                <a:lnTo>
                  <a:pt x="1707" y="35"/>
                </a:lnTo>
                <a:lnTo>
                  <a:pt x="1794" y="45"/>
                </a:lnTo>
                <a:lnTo>
                  <a:pt x="1868" y="59"/>
                </a:lnTo>
                <a:lnTo>
                  <a:pt x="1931" y="73"/>
                </a:lnTo>
                <a:lnTo>
                  <a:pt x="1982" y="87"/>
                </a:lnTo>
                <a:lnTo>
                  <a:pt x="2022" y="103"/>
                </a:lnTo>
                <a:lnTo>
                  <a:pt x="2045" y="119"/>
                </a:lnTo>
                <a:lnTo>
                  <a:pt x="2052" y="136"/>
                </a:lnTo>
                <a:lnTo>
                  <a:pt x="2045" y="152"/>
                </a:lnTo>
                <a:lnTo>
                  <a:pt x="2022" y="168"/>
                </a:lnTo>
                <a:lnTo>
                  <a:pt x="1982" y="182"/>
                </a:lnTo>
                <a:lnTo>
                  <a:pt x="1931" y="199"/>
                </a:lnTo>
                <a:lnTo>
                  <a:pt x="1868" y="210"/>
                </a:lnTo>
                <a:lnTo>
                  <a:pt x="1794" y="224"/>
                </a:lnTo>
                <a:lnTo>
                  <a:pt x="1707" y="234"/>
                </a:lnTo>
                <a:lnTo>
                  <a:pt x="1612" y="245"/>
                </a:lnTo>
                <a:lnTo>
                  <a:pt x="1510" y="252"/>
                </a:lnTo>
                <a:lnTo>
                  <a:pt x="1398" y="259"/>
                </a:lnTo>
                <a:lnTo>
                  <a:pt x="1279" y="264"/>
                </a:lnTo>
                <a:lnTo>
                  <a:pt x="1154" y="269"/>
                </a:lnTo>
                <a:lnTo>
                  <a:pt x="898" y="269"/>
                </a:lnTo>
                <a:lnTo>
                  <a:pt x="772" y="264"/>
                </a:lnTo>
                <a:lnTo>
                  <a:pt x="653" y="259"/>
                </a:lnTo>
                <a:lnTo>
                  <a:pt x="542" y="252"/>
                </a:lnTo>
                <a:lnTo>
                  <a:pt x="439" y="245"/>
                </a:lnTo>
                <a:lnTo>
                  <a:pt x="344" y="234"/>
                </a:lnTo>
                <a:lnTo>
                  <a:pt x="258" y="224"/>
                </a:lnTo>
                <a:lnTo>
                  <a:pt x="183" y="210"/>
                </a:lnTo>
                <a:lnTo>
                  <a:pt x="121" y="199"/>
                </a:lnTo>
                <a:lnTo>
                  <a:pt x="69" y="182"/>
                </a:lnTo>
                <a:lnTo>
                  <a:pt x="30" y="168"/>
                </a:lnTo>
                <a:lnTo>
                  <a:pt x="7" y="152"/>
                </a:lnTo>
                <a:lnTo>
                  <a:pt x="0" y="136"/>
                </a:lnTo>
                <a:lnTo>
                  <a:pt x="7" y="119"/>
                </a:lnTo>
                <a:lnTo>
                  <a:pt x="30" y="103"/>
                </a:lnTo>
                <a:lnTo>
                  <a:pt x="69" y="87"/>
                </a:lnTo>
                <a:lnTo>
                  <a:pt x="121" y="73"/>
                </a:lnTo>
                <a:lnTo>
                  <a:pt x="183" y="59"/>
                </a:lnTo>
                <a:lnTo>
                  <a:pt x="258" y="45"/>
                </a:lnTo>
                <a:lnTo>
                  <a:pt x="344" y="35"/>
                </a:lnTo>
                <a:lnTo>
                  <a:pt x="439" y="24"/>
                </a:lnTo>
                <a:lnTo>
                  <a:pt x="542" y="17"/>
                </a:lnTo>
                <a:lnTo>
                  <a:pt x="653" y="10"/>
                </a:lnTo>
                <a:lnTo>
                  <a:pt x="772" y="5"/>
                </a:lnTo>
                <a:lnTo>
                  <a:pt x="898"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6">
            <a:extLst>
              <a:ext uri="{FF2B5EF4-FFF2-40B4-BE49-F238E27FC236}">
                <a16:creationId xmlns:a16="http://schemas.microsoft.com/office/drawing/2014/main" id="{2B937D59-C264-4807-919D-50F2812E1036}"/>
              </a:ext>
            </a:extLst>
          </p:cNvPr>
          <p:cNvSpPr>
            <a:spLocks/>
          </p:cNvSpPr>
          <p:nvPr/>
        </p:nvSpPr>
        <p:spPr bwMode="auto">
          <a:xfrm>
            <a:off x="5091545" y="4505264"/>
            <a:ext cx="1931923" cy="631166"/>
          </a:xfrm>
          <a:custGeom>
            <a:avLst/>
            <a:gdLst/>
            <a:ahLst/>
            <a:cxnLst>
              <a:cxn ang="0">
                <a:pos x="719" y="0"/>
              </a:cxn>
              <a:cxn ang="0">
                <a:pos x="942" y="0"/>
              </a:cxn>
              <a:cxn ang="0">
                <a:pos x="1051" y="5"/>
              </a:cxn>
              <a:cxn ang="0">
                <a:pos x="1154" y="10"/>
              </a:cxn>
              <a:cxn ang="0">
                <a:pos x="1249" y="14"/>
              </a:cxn>
              <a:cxn ang="0">
                <a:pos x="1338" y="24"/>
              </a:cxn>
              <a:cxn ang="0">
                <a:pos x="1417" y="33"/>
              </a:cxn>
              <a:cxn ang="0">
                <a:pos x="1487" y="42"/>
              </a:cxn>
              <a:cxn ang="0">
                <a:pos x="1545" y="54"/>
              </a:cxn>
              <a:cxn ang="0">
                <a:pos x="1594" y="66"/>
              </a:cxn>
              <a:cxn ang="0">
                <a:pos x="1628" y="80"/>
              </a:cxn>
              <a:cxn ang="0">
                <a:pos x="1652" y="94"/>
              </a:cxn>
              <a:cxn ang="0">
                <a:pos x="1659" y="108"/>
              </a:cxn>
              <a:cxn ang="0">
                <a:pos x="1659" y="542"/>
              </a:cxn>
              <a:cxn ang="0">
                <a:pos x="0" y="542"/>
              </a:cxn>
              <a:cxn ang="0">
                <a:pos x="0" y="108"/>
              </a:cxn>
              <a:cxn ang="0">
                <a:pos x="7" y="94"/>
              </a:cxn>
              <a:cxn ang="0">
                <a:pos x="30" y="80"/>
              </a:cxn>
              <a:cxn ang="0">
                <a:pos x="65" y="66"/>
              </a:cxn>
              <a:cxn ang="0">
                <a:pos x="114" y="54"/>
              </a:cxn>
              <a:cxn ang="0">
                <a:pos x="172" y="42"/>
              </a:cxn>
              <a:cxn ang="0">
                <a:pos x="244" y="33"/>
              </a:cxn>
              <a:cxn ang="0">
                <a:pos x="323" y="24"/>
              </a:cxn>
              <a:cxn ang="0">
                <a:pos x="412" y="14"/>
              </a:cxn>
              <a:cxn ang="0">
                <a:pos x="507" y="10"/>
              </a:cxn>
              <a:cxn ang="0">
                <a:pos x="609" y="5"/>
              </a:cxn>
              <a:cxn ang="0">
                <a:pos x="719" y="0"/>
              </a:cxn>
            </a:cxnLst>
            <a:rect l="0" t="0" r="r" b="b"/>
            <a:pathLst>
              <a:path w="1659" h="542">
                <a:moveTo>
                  <a:pt x="719" y="0"/>
                </a:moveTo>
                <a:lnTo>
                  <a:pt x="942" y="0"/>
                </a:lnTo>
                <a:lnTo>
                  <a:pt x="1051" y="5"/>
                </a:lnTo>
                <a:lnTo>
                  <a:pt x="1154" y="10"/>
                </a:lnTo>
                <a:lnTo>
                  <a:pt x="1249" y="14"/>
                </a:lnTo>
                <a:lnTo>
                  <a:pt x="1338" y="24"/>
                </a:lnTo>
                <a:lnTo>
                  <a:pt x="1417" y="33"/>
                </a:lnTo>
                <a:lnTo>
                  <a:pt x="1487" y="42"/>
                </a:lnTo>
                <a:lnTo>
                  <a:pt x="1545" y="54"/>
                </a:lnTo>
                <a:lnTo>
                  <a:pt x="1594" y="66"/>
                </a:lnTo>
                <a:lnTo>
                  <a:pt x="1628" y="80"/>
                </a:lnTo>
                <a:lnTo>
                  <a:pt x="1652" y="94"/>
                </a:lnTo>
                <a:lnTo>
                  <a:pt x="1659" y="108"/>
                </a:lnTo>
                <a:lnTo>
                  <a:pt x="1659" y="542"/>
                </a:lnTo>
                <a:lnTo>
                  <a:pt x="0" y="542"/>
                </a:lnTo>
                <a:lnTo>
                  <a:pt x="0" y="108"/>
                </a:lnTo>
                <a:lnTo>
                  <a:pt x="7" y="94"/>
                </a:lnTo>
                <a:lnTo>
                  <a:pt x="30" y="80"/>
                </a:lnTo>
                <a:lnTo>
                  <a:pt x="65" y="66"/>
                </a:lnTo>
                <a:lnTo>
                  <a:pt x="114" y="54"/>
                </a:lnTo>
                <a:lnTo>
                  <a:pt x="172" y="42"/>
                </a:lnTo>
                <a:lnTo>
                  <a:pt x="244" y="33"/>
                </a:lnTo>
                <a:lnTo>
                  <a:pt x="323" y="24"/>
                </a:lnTo>
                <a:lnTo>
                  <a:pt x="412" y="14"/>
                </a:lnTo>
                <a:lnTo>
                  <a:pt x="507" y="10"/>
                </a:lnTo>
                <a:lnTo>
                  <a:pt x="609" y="5"/>
                </a:lnTo>
                <a:lnTo>
                  <a:pt x="719" y="0"/>
                </a:ln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7">
            <a:extLst>
              <a:ext uri="{FF2B5EF4-FFF2-40B4-BE49-F238E27FC236}">
                <a16:creationId xmlns:a16="http://schemas.microsoft.com/office/drawing/2014/main" id="{481A89CF-0D73-491D-8282-F8F0DCC1BB60}"/>
              </a:ext>
            </a:extLst>
          </p:cNvPr>
          <p:cNvSpPr>
            <a:spLocks/>
          </p:cNvSpPr>
          <p:nvPr/>
        </p:nvSpPr>
        <p:spPr bwMode="auto">
          <a:xfrm>
            <a:off x="5091545" y="5008333"/>
            <a:ext cx="1931923" cy="256193"/>
          </a:xfrm>
          <a:custGeom>
            <a:avLst/>
            <a:gdLst/>
            <a:ahLst/>
            <a:cxnLst>
              <a:cxn ang="0">
                <a:pos x="719" y="0"/>
              </a:cxn>
              <a:cxn ang="0">
                <a:pos x="942" y="0"/>
              </a:cxn>
              <a:cxn ang="0">
                <a:pos x="1051" y="5"/>
              </a:cxn>
              <a:cxn ang="0">
                <a:pos x="1154" y="10"/>
              </a:cxn>
              <a:cxn ang="0">
                <a:pos x="1249" y="14"/>
              </a:cxn>
              <a:cxn ang="0">
                <a:pos x="1338" y="24"/>
              </a:cxn>
              <a:cxn ang="0">
                <a:pos x="1417" y="33"/>
              </a:cxn>
              <a:cxn ang="0">
                <a:pos x="1487" y="42"/>
              </a:cxn>
              <a:cxn ang="0">
                <a:pos x="1545" y="54"/>
              </a:cxn>
              <a:cxn ang="0">
                <a:pos x="1594" y="68"/>
              </a:cxn>
              <a:cxn ang="0">
                <a:pos x="1628" y="80"/>
              </a:cxn>
              <a:cxn ang="0">
                <a:pos x="1652" y="96"/>
              </a:cxn>
              <a:cxn ang="0">
                <a:pos x="1659" y="110"/>
              </a:cxn>
              <a:cxn ang="0">
                <a:pos x="1652" y="124"/>
              </a:cxn>
              <a:cxn ang="0">
                <a:pos x="1628" y="140"/>
              </a:cxn>
              <a:cxn ang="0">
                <a:pos x="1594" y="152"/>
              </a:cxn>
              <a:cxn ang="0">
                <a:pos x="1545" y="166"/>
              </a:cxn>
              <a:cxn ang="0">
                <a:pos x="1487" y="178"/>
              </a:cxn>
              <a:cxn ang="0">
                <a:pos x="1417" y="187"/>
              </a:cxn>
              <a:cxn ang="0">
                <a:pos x="1338" y="196"/>
              </a:cxn>
              <a:cxn ang="0">
                <a:pos x="1249" y="206"/>
              </a:cxn>
              <a:cxn ang="0">
                <a:pos x="1154" y="210"/>
              </a:cxn>
              <a:cxn ang="0">
                <a:pos x="1051" y="215"/>
              </a:cxn>
              <a:cxn ang="0">
                <a:pos x="942" y="220"/>
              </a:cxn>
              <a:cxn ang="0">
                <a:pos x="719" y="220"/>
              </a:cxn>
              <a:cxn ang="0">
                <a:pos x="609" y="215"/>
              </a:cxn>
              <a:cxn ang="0">
                <a:pos x="507" y="210"/>
              </a:cxn>
              <a:cxn ang="0">
                <a:pos x="412" y="206"/>
              </a:cxn>
              <a:cxn ang="0">
                <a:pos x="323" y="196"/>
              </a:cxn>
              <a:cxn ang="0">
                <a:pos x="244" y="187"/>
              </a:cxn>
              <a:cxn ang="0">
                <a:pos x="172" y="178"/>
              </a:cxn>
              <a:cxn ang="0">
                <a:pos x="114" y="166"/>
              </a:cxn>
              <a:cxn ang="0">
                <a:pos x="65" y="152"/>
              </a:cxn>
              <a:cxn ang="0">
                <a:pos x="30" y="140"/>
              </a:cxn>
              <a:cxn ang="0">
                <a:pos x="7" y="124"/>
              </a:cxn>
              <a:cxn ang="0">
                <a:pos x="0" y="110"/>
              </a:cxn>
              <a:cxn ang="0">
                <a:pos x="7" y="96"/>
              </a:cxn>
              <a:cxn ang="0">
                <a:pos x="30" y="80"/>
              </a:cxn>
              <a:cxn ang="0">
                <a:pos x="65" y="68"/>
              </a:cxn>
              <a:cxn ang="0">
                <a:pos x="114" y="54"/>
              </a:cxn>
              <a:cxn ang="0">
                <a:pos x="172" y="42"/>
              </a:cxn>
              <a:cxn ang="0">
                <a:pos x="244" y="33"/>
              </a:cxn>
              <a:cxn ang="0">
                <a:pos x="323" y="24"/>
              </a:cxn>
              <a:cxn ang="0">
                <a:pos x="412" y="14"/>
              </a:cxn>
              <a:cxn ang="0">
                <a:pos x="507" y="10"/>
              </a:cxn>
              <a:cxn ang="0">
                <a:pos x="609" y="5"/>
              </a:cxn>
              <a:cxn ang="0">
                <a:pos x="719" y="0"/>
              </a:cxn>
            </a:cxnLst>
            <a:rect l="0" t="0" r="r" b="b"/>
            <a:pathLst>
              <a:path w="1659" h="220">
                <a:moveTo>
                  <a:pt x="719" y="0"/>
                </a:moveTo>
                <a:lnTo>
                  <a:pt x="942" y="0"/>
                </a:lnTo>
                <a:lnTo>
                  <a:pt x="1051" y="5"/>
                </a:lnTo>
                <a:lnTo>
                  <a:pt x="1154" y="10"/>
                </a:lnTo>
                <a:lnTo>
                  <a:pt x="1249" y="14"/>
                </a:lnTo>
                <a:lnTo>
                  <a:pt x="1338" y="24"/>
                </a:lnTo>
                <a:lnTo>
                  <a:pt x="1417" y="33"/>
                </a:lnTo>
                <a:lnTo>
                  <a:pt x="1487" y="42"/>
                </a:lnTo>
                <a:lnTo>
                  <a:pt x="1545" y="54"/>
                </a:lnTo>
                <a:lnTo>
                  <a:pt x="1594" y="68"/>
                </a:lnTo>
                <a:lnTo>
                  <a:pt x="1628" y="80"/>
                </a:lnTo>
                <a:lnTo>
                  <a:pt x="1652" y="96"/>
                </a:lnTo>
                <a:lnTo>
                  <a:pt x="1659" y="110"/>
                </a:lnTo>
                <a:lnTo>
                  <a:pt x="1652" y="124"/>
                </a:lnTo>
                <a:lnTo>
                  <a:pt x="1628" y="140"/>
                </a:lnTo>
                <a:lnTo>
                  <a:pt x="1594" y="152"/>
                </a:lnTo>
                <a:lnTo>
                  <a:pt x="1545" y="166"/>
                </a:lnTo>
                <a:lnTo>
                  <a:pt x="1487" y="178"/>
                </a:lnTo>
                <a:lnTo>
                  <a:pt x="1417" y="187"/>
                </a:lnTo>
                <a:lnTo>
                  <a:pt x="1338" y="196"/>
                </a:lnTo>
                <a:lnTo>
                  <a:pt x="1249" y="206"/>
                </a:lnTo>
                <a:lnTo>
                  <a:pt x="1154" y="210"/>
                </a:lnTo>
                <a:lnTo>
                  <a:pt x="1051" y="215"/>
                </a:lnTo>
                <a:lnTo>
                  <a:pt x="942" y="220"/>
                </a:lnTo>
                <a:lnTo>
                  <a:pt x="719" y="220"/>
                </a:lnTo>
                <a:lnTo>
                  <a:pt x="609" y="215"/>
                </a:lnTo>
                <a:lnTo>
                  <a:pt x="507" y="210"/>
                </a:lnTo>
                <a:lnTo>
                  <a:pt x="412" y="206"/>
                </a:lnTo>
                <a:lnTo>
                  <a:pt x="323" y="196"/>
                </a:lnTo>
                <a:lnTo>
                  <a:pt x="244" y="187"/>
                </a:lnTo>
                <a:lnTo>
                  <a:pt x="172" y="178"/>
                </a:lnTo>
                <a:lnTo>
                  <a:pt x="114" y="166"/>
                </a:lnTo>
                <a:lnTo>
                  <a:pt x="65" y="152"/>
                </a:lnTo>
                <a:lnTo>
                  <a:pt x="30" y="140"/>
                </a:lnTo>
                <a:lnTo>
                  <a:pt x="7" y="124"/>
                </a:lnTo>
                <a:lnTo>
                  <a:pt x="0" y="110"/>
                </a:lnTo>
                <a:lnTo>
                  <a:pt x="7" y="96"/>
                </a:lnTo>
                <a:lnTo>
                  <a:pt x="30" y="80"/>
                </a:lnTo>
                <a:lnTo>
                  <a:pt x="65" y="68"/>
                </a:lnTo>
                <a:lnTo>
                  <a:pt x="114" y="54"/>
                </a:lnTo>
                <a:lnTo>
                  <a:pt x="172" y="42"/>
                </a:lnTo>
                <a:lnTo>
                  <a:pt x="244" y="33"/>
                </a:lnTo>
                <a:lnTo>
                  <a:pt x="323" y="24"/>
                </a:lnTo>
                <a:lnTo>
                  <a:pt x="412" y="14"/>
                </a:lnTo>
                <a:lnTo>
                  <a:pt x="507" y="10"/>
                </a:lnTo>
                <a:lnTo>
                  <a:pt x="609" y="5"/>
                </a:lnTo>
                <a:lnTo>
                  <a:pt x="719"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8">
            <a:extLst>
              <a:ext uri="{FF2B5EF4-FFF2-40B4-BE49-F238E27FC236}">
                <a16:creationId xmlns:a16="http://schemas.microsoft.com/office/drawing/2014/main" id="{87F524F2-DB0A-497B-A015-6AB8BB50C7DC}"/>
              </a:ext>
            </a:extLst>
          </p:cNvPr>
          <p:cNvSpPr>
            <a:spLocks/>
          </p:cNvSpPr>
          <p:nvPr/>
        </p:nvSpPr>
        <p:spPr bwMode="auto">
          <a:xfrm>
            <a:off x="5326776" y="5220273"/>
            <a:ext cx="1468448" cy="610204"/>
          </a:xfrm>
          <a:custGeom>
            <a:avLst/>
            <a:gdLst/>
            <a:ahLst/>
            <a:cxnLst>
              <a:cxn ang="0">
                <a:pos x="528" y="0"/>
              </a:cxn>
              <a:cxn ang="0">
                <a:pos x="733" y="0"/>
              </a:cxn>
              <a:cxn ang="0">
                <a:pos x="831" y="5"/>
              </a:cxn>
              <a:cxn ang="0">
                <a:pos x="922" y="10"/>
              </a:cxn>
              <a:cxn ang="0">
                <a:pos x="1003" y="17"/>
              </a:cxn>
              <a:cxn ang="0">
                <a:pos x="1077" y="26"/>
              </a:cxn>
              <a:cxn ang="0">
                <a:pos x="1140" y="35"/>
              </a:cxn>
              <a:cxn ang="0">
                <a:pos x="1191" y="45"/>
              </a:cxn>
              <a:cxn ang="0">
                <a:pos x="1229" y="59"/>
              </a:cxn>
              <a:cxn ang="0">
                <a:pos x="1252" y="71"/>
              </a:cxn>
              <a:cxn ang="0">
                <a:pos x="1261" y="85"/>
              </a:cxn>
              <a:cxn ang="0">
                <a:pos x="1261" y="524"/>
              </a:cxn>
              <a:cxn ang="0">
                <a:pos x="0" y="524"/>
              </a:cxn>
              <a:cxn ang="0">
                <a:pos x="0" y="85"/>
              </a:cxn>
              <a:cxn ang="0">
                <a:pos x="10" y="71"/>
              </a:cxn>
              <a:cxn ang="0">
                <a:pos x="33" y="59"/>
              </a:cxn>
              <a:cxn ang="0">
                <a:pos x="70" y="45"/>
              </a:cxn>
              <a:cxn ang="0">
                <a:pos x="121" y="35"/>
              </a:cxn>
              <a:cxn ang="0">
                <a:pos x="186" y="26"/>
              </a:cxn>
              <a:cxn ang="0">
                <a:pos x="258" y="17"/>
              </a:cxn>
              <a:cxn ang="0">
                <a:pos x="342" y="10"/>
              </a:cxn>
              <a:cxn ang="0">
                <a:pos x="433" y="5"/>
              </a:cxn>
              <a:cxn ang="0">
                <a:pos x="528" y="0"/>
              </a:cxn>
            </a:cxnLst>
            <a:rect l="0" t="0" r="r" b="b"/>
            <a:pathLst>
              <a:path w="1261" h="524">
                <a:moveTo>
                  <a:pt x="528" y="0"/>
                </a:moveTo>
                <a:lnTo>
                  <a:pt x="733" y="0"/>
                </a:lnTo>
                <a:lnTo>
                  <a:pt x="831" y="5"/>
                </a:lnTo>
                <a:lnTo>
                  <a:pt x="922" y="10"/>
                </a:lnTo>
                <a:lnTo>
                  <a:pt x="1003" y="17"/>
                </a:lnTo>
                <a:lnTo>
                  <a:pt x="1077" y="26"/>
                </a:lnTo>
                <a:lnTo>
                  <a:pt x="1140" y="35"/>
                </a:lnTo>
                <a:lnTo>
                  <a:pt x="1191" y="45"/>
                </a:lnTo>
                <a:lnTo>
                  <a:pt x="1229" y="59"/>
                </a:lnTo>
                <a:lnTo>
                  <a:pt x="1252" y="71"/>
                </a:lnTo>
                <a:lnTo>
                  <a:pt x="1261" y="85"/>
                </a:lnTo>
                <a:lnTo>
                  <a:pt x="1261" y="524"/>
                </a:lnTo>
                <a:lnTo>
                  <a:pt x="0" y="524"/>
                </a:lnTo>
                <a:lnTo>
                  <a:pt x="0" y="85"/>
                </a:lnTo>
                <a:lnTo>
                  <a:pt x="10" y="71"/>
                </a:lnTo>
                <a:lnTo>
                  <a:pt x="33" y="59"/>
                </a:lnTo>
                <a:lnTo>
                  <a:pt x="70" y="45"/>
                </a:lnTo>
                <a:lnTo>
                  <a:pt x="121" y="35"/>
                </a:lnTo>
                <a:lnTo>
                  <a:pt x="186" y="26"/>
                </a:lnTo>
                <a:lnTo>
                  <a:pt x="258" y="17"/>
                </a:lnTo>
                <a:lnTo>
                  <a:pt x="342" y="10"/>
                </a:lnTo>
                <a:lnTo>
                  <a:pt x="433" y="5"/>
                </a:lnTo>
                <a:lnTo>
                  <a:pt x="528"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9">
            <a:extLst>
              <a:ext uri="{FF2B5EF4-FFF2-40B4-BE49-F238E27FC236}">
                <a16:creationId xmlns:a16="http://schemas.microsoft.com/office/drawing/2014/main" id="{1C7F0B0F-3163-40F7-B092-B169DE5DF34F}"/>
              </a:ext>
            </a:extLst>
          </p:cNvPr>
          <p:cNvSpPr>
            <a:spLocks/>
          </p:cNvSpPr>
          <p:nvPr/>
        </p:nvSpPr>
        <p:spPr bwMode="auto">
          <a:xfrm>
            <a:off x="5326776" y="5731494"/>
            <a:ext cx="1468448" cy="193309"/>
          </a:xfrm>
          <a:custGeom>
            <a:avLst/>
            <a:gdLst/>
            <a:ahLst/>
            <a:cxnLst>
              <a:cxn ang="0">
                <a:pos x="528" y="0"/>
              </a:cxn>
              <a:cxn ang="0">
                <a:pos x="733" y="0"/>
              </a:cxn>
              <a:cxn ang="0">
                <a:pos x="831" y="5"/>
              </a:cxn>
              <a:cxn ang="0">
                <a:pos x="922" y="10"/>
              </a:cxn>
              <a:cxn ang="0">
                <a:pos x="1003" y="17"/>
              </a:cxn>
              <a:cxn ang="0">
                <a:pos x="1077" y="26"/>
              </a:cxn>
              <a:cxn ang="0">
                <a:pos x="1140" y="35"/>
              </a:cxn>
              <a:cxn ang="0">
                <a:pos x="1191" y="45"/>
              </a:cxn>
              <a:cxn ang="0">
                <a:pos x="1229" y="59"/>
              </a:cxn>
              <a:cxn ang="0">
                <a:pos x="1252" y="70"/>
              </a:cxn>
              <a:cxn ang="0">
                <a:pos x="1261" y="85"/>
              </a:cxn>
              <a:cxn ang="0">
                <a:pos x="1252" y="99"/>
              </a:cxn>
              <a:cxn ang="0">
                <a:pos x="1229" y="110"/>
              </a:cxn>
              <a:cxn ang="0">
                <a:pos x="1191" y="122"/>
              </a:cxn>
              <a:cxn ang="0">
                <a:pos x="1140" y="134"/>
              </a:cxn>
              <a:cxn ang="0">
                <a:pos x="1077" y="143"/>
              </a:cxn>
              <a:cxn ang="0">
                <a:pos x="1003" y="150"/>
              </a:cxn>
              <a:cxn ang="0">
                <a:pos x="922" y="157"/>
              </a:cxn>
              <a:cxn ang="0">
                <a:pos x="831" y="162"/>
              </a:cxn>
              <a:cxn ang="0">
                <a:pos x="733" y="166"/>
              </a:cxn>
              <a:cxn ang="0">
                <a:pos x="528" y="166"/>
              </a:cxn>
              <a:cxn ang="0">
                <a:pos x="433" y="162"/>
              </a:cxn>
              <a:cxn ang="0">
                <a:pos x="342" y="157"/>
              </a:cxn>
              <a:cxn ang="0">
                <a:pos x="258" y="150"/>
              </a:cxn>
              <a:cxn ang="0">
                <a:pos x="186" y="143"/>
              </a:cxn>
              <a:cxn ang="0">
                <a:pos x="121" y="134"/>
              </a:cxn>
              <a:cxn ang="0">
                <a:pos x="70" y="122"/>
              </a:cxn>
              <a:cxn ang="0">
                <a:pos x="33" y="110"/>
              </a:cxn>
              <a:cxn ang="0">
                <a:pos x="10" y="99"/>
              </a:cxn>
              <a:cxn ang="0">
                <a:pos x="0" y="85"/>
              </a:cxn>
              <a:cxn ang="0">
                <a:pos x="10" y="70"/>
              </a:cxn>
              <a:cxn ang="0">
                <a:pos x="33" y="59"/>
              </a:cxn>
              <a:cxn ang="0">
                <a:pos x="70" y="45"/>
              </a:cxn>
              <a:cxn ang="0">
                <a:pos x="121" y="35"/>
              </a:cxn>
              <a:cxn ang="0">
                <a:pos x="186" y="26"/>
              </a:cxn>
              <a:cxn ang="0">
                <a:pos x="258" y="17"/>
              </a:cxn>
              <a:cxn ang="0">
                <a:pos x="342" y="10"/>
              </a:cxn>
              <a:cxn ang="0">
                <a:pos x="433" y="5"/>
              </a:cxn>
              <a:cxn ang="0">
                <a:pos x="528" y="0"/>
              </a:cxn>
            </a:cxnLst>
            <a:rect l="0" t="0" r="r" b="b"/>
            <a:pathLst>
              <a:path w="1261" h="166">
                <a:moveTo>
                  <a:pt x="528" y="0"/>
                </a:moveTo>
                <a:lnTo>
                  <a:pt x="733" y="0"/>
                </a:lnTo>
                <a:lnTo>
                  <a:pt x="831" y="5"/>
                </a:lnTo>
                <a:lnTo>
                  <a:pt x="922" y="10"/>
                </a:lnTo>
                <a:lnTo>
                  <a:pt x="1003" y="17"/>
                </a:lnTo>
                <a:lnTo>
                  <a:pt x="1077" y="26"/>
                </a:lnTo>
                <a:lnTo>
                  <a:pt x="1140" y="35"/>
                </a:lnTo>
                <a:lnTo>
                  <a:pt x="1191" y="45"/>
                </a:lnTo>
                <a:lnTo>
                  <a:pt x="1229" y="59"/>
                </a:lnTo>
                <a:lnTo>
                  <a:pt x="1252" y="70"/>
                </a:lnTo>
                <a:lnTo>
                  <a:pt x="1261" y="85"/>
                </a:lnTo>
                <a:lnTo>
                  <a:pt x="1252" y="99"/>
                </a:lnTo>
                <a:lnTo>
                  <a:pt x="1229" y="110"/>
                </a:lnTo>
                <a:lnTo>
                  <a:pt x="1191" y="122"/>
                </a:lnTo>
                <a:lnTo>
                  <a:pt x="1140" y="134"/>
                </a:lnTo>
                <a:lnTo>
                  <a:pt x="1077" y="143"/>
                </a:lnTo>
                <a:lnTo>
                  <a:pt x="1003" y="150"/>
                </a:lnTo>
                <a:lnTo>
                  <a:pt x="922" y="157"/>
                </a:lnTo>
                <a:lnTo>
                  <a:pt x="831" y="162"/>
                </a:lnTo>
                <a:lnTo>
                  <a:pt x="733" y="166"/>
                </a:lnTo>
                <a:lnTo>
                  <a:pt x="528" y="166"/>
                </a:lnTo>
                <a:lnTo>
                  <a:pt x="433" y="162"/>
                </a:lnTo>
                <a:lnTo>
                  <a:pt x="342" y="157"/>
                </a:lnTo>
                <a:lnTo>
                  <a:pt x="258" y="150"/>
                </a:lnTo>
                <a:lnTo>
                  <a:pt x="186" y="143"/>
                </a:lnTo>
                <a:lnTo>
                  <a:pt x="121" y="134"/>
                </a:lnTo>
                <a:lnTo>
                  <a:pt x="70" y="122"/>
                </a:lnTo>
                <a:lnTo>
                  <a:pt x="33" y="110"/>
                </a:lnTo>
                <a:lnTo>
                  <a:pt x="10" y="99"/>
                </a:lnTo>
                <a:lnTo>
                  <a:pt x="0" y="85"/>
                </a:lnTo>
                <a:lnTo>
                  <a:pt x="10" y="70"/>
                </a:lnTo>
                <a:lnTo>
                  <a:pt x="33" y="59"/>
                </a:lnTo>
                <a:lnTo>
                  <a:pt x="70" y="45"/>
                </a:lnTo>
                <a:lnTo>
                  <a:pt x="121" y="35"/>
                </a:lnTo>
                <a:lnTo>
                  <a:pt x="186" y="26"/>
                </a:lnTo>
                <a:lnTo>
                  <a:pt x="258" y="17"/>
                </a:lnTo>
                <a:lnTo>
                  <a:pt x="342" y="10"/>
                </a:lnTo>
                <a:lnTo>
                  <a:pt x="433" y="5"/>
                </a:lnTo>
                <a:lnTo>
                  <a:pt x="528"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3" name="Group 52">
            <a:extLst>
              <a:ext uri="{FF2B5EF4-FFF2-40B4-BE49-F238E27FC236}">
                <a16:creationId xmlns:a16="http://schemas.microsoft.com/office/drawing/2014/main" id="{0A5325EB-E675-41A1-82F8-6A8AE32555E7}"/>
              </a:ext>
            </a:extLst>
          </p:cNvPr>
          <p:cNvGrpSpPr/>
          <p:nvPr/>
        </p:nvGrpSpPr>
        <p:grpSpPr>
          <a:xfrm>
            <a:off x="4989375" y="2319215"/>
            <a:ext cx="2159566" cy="3321000"/>
            <a:chOff x="4947792" y="1658256"/>
            <a:chExt cx="2566707" cy="3947104"/>
          </a:xfrm>
        </p:grpSpPr>
        <p:sp>
          <p:nvSpPr>
            <p:cNvPr id="54" name="TextBox 14">
              <a:extLst>
                <a:ext uri="{FF2B5EF4-FFF2-40B4-BE49-F238E27FC236}">
                  <a16:creationId xmlns:a16="http://schemas.microsoft.com/office/drawing/2014/main" id="{3049FC8B-EC07-4FAB-9A2A-E25F30FAD3DB}"/>
                </a:ext>
              </a:extLst>
            </p:cNvPr>
            <p:cNvSpPr txBox="1"/>
            <p:nvPr/>
          </p:nvSpPr>
          <p:spPr>
            <a:xfrm>
              <a:off x="4947792" y="1658256"/>
              <a:ext cx="2566707" cy="438962"/>
            </a:xfrm>
            <a:prstGeom prst="rect">
              <a:avLst/>
            </a:prstGeom>
            <a:noFill/>
            <a:effectLst/>
          </p:spPr>
          <p:txBody>
            <a:bodyPr wrap="none" rtlCol="0">
              <a:spAutoFit/>
            </a:bodyPr>
            <a:lstStyle/>
            <a:p>
              <a:pPr algn="ctr"/>
              <a:r>
                <a:rPr lang="en-US" sz="1800" dirty="0">
                  <a:solidFill>
                    <a:schemeClr val="bg1"/>
                  </a:solidFill>
                  <a:cs typeface="Arial" pitchFamily="34" charset="0"/>
                </a:rPr>
                <a:t>Strategic alignment</a:t>
              </a:r>
            </a:p>
          </p:txBody>
        </p:sp>
        <p:sp>
          <p:nvSpPr>
            <p:cNvPr id="55" name="TextBox 54">
              <a:extLst>
                <a:ext uri="{FF2B5EF4-FFF2-40B4-BE49-F238E27FC236}">
                  <a16:creationId xmlns:a16="http://schemas.microsoft.com/office/drawing/2014/main" id="{B6BBF957-02CB-4753-8A2A-72CFCA193CD0}"/>
                </a:ext>
              </a:extLst>
            </p:cNvPr>
            <p:cNvSpPr txBox="1"/>
            <p:nvPr/>
          </p:nvSpPr>
          <p:spPr>
            <a:xfrm>
              <a:off x="5572703" y="2590799"/>
              <a:ext cx="1316887" cy="438962"/>
            </a:xfrm>
            <a:prstGeom prst="rect">
              <a:avLst/>
            </a:prstGeom>
            <a:noFill/>
            <a:effectLst/>
          </p:spPr>
          <p:txBody>
            <a:bodyPr wrap="none" rtlCol="0">
              <a:spAutoFit/>
            </a:bodyPr>
            <a:lstStyle/>
            <a:p>
              <a:pPr algn="ctr"/>
              <a:r>
                <a:rPr lang="en-US" sz="1800" dirty="0">
                  <a:solidFill>
                    <a:schemeClr val="bg1"/>
                  </a:solidFill>
                  <a:cs typeface="Arial" pitchFamily="34" charset="0"/>
                </a:rPr>
                <a:t>Revenue</a:t>
              </a:r>
            </a:p>
          </p:txBody>
        </p:sp>
        <p:sp>
          <p:nvSpPr>
            <p:cNvPr id="56" name="TextBox 55">
              <a:extLst>
                <a:ext uri="{FF2B5EF4-FFF2-40B4-BE49-F238E27FC236}">
                  <a16:creationId xmlns:a16="http://schemas.microsoft.com/office/drawing/2014/main" id="{021B3EC8-FEE0-4DE5-A9ED-9B096D09C664}"/>
                </a:ext>
              </a:extLst>
            </p:cNvPr>
            <p:cNvSpPr txBox="1"/>
            <p:nvPr/>
          </p:nvSpPr>
          <p:spPr>
            <a:xfrm>
              <a:off x="5702254" y="3519714"/>
              <a:ext cx="1057777" cy="438962"/>
            </a:xfrm>
            <a:prstGeom prst="rect">
              <a:avLst/>
            </a:prstGeom>
            <a:noFill/>
            <a:effectLst/>
          </p:spPr>
          <p:txBody>
            <a:bodyPr wrap="none" rtlCol="0">
              <a:spAutoFit/>
            </a:bodyPr>
            <a:lstStyle/>
            <a:p>
              <a:pPr algn="ctr"/>
              <a:r>
                <a:rPr lang="en-US" sz="1800" dirty="0">
                  <a:solidFill>
                    <a:schemeClr val="bg1"/>
                  </a:solidFill>
                  <a:cs typeface="Arial" pitchFamily="34" charset="0"/>
                </a:rPr>
                <a:t>Market</a:t>
              </a:r>
            </a:p>
          </p:txBody>
        </p:sp>
        <p:sp>
          <p:nvSpPr>
            <p:cNvPr id="57" name="TextBox 56">
              <a:extLst>
                <a:ext uri="{FF2B5EF4-FFF2-40B4-BE49-F238E27FC236}">
                  <a16:creationId xmlns:a16="http://schemas.microsoft.com/office/drawing/2014/main" id="{60A302CD-8BA3-4164-A028-36B7D833D215}"/>
                </a:ext>
              </a:extLst>
            </p:cNvPr>
            <p:cNvSpPr txBox="1"/>
            <p:nvPr/>
          </p:nvSpPr>
          <p:spPr>
            <a:xfrm>
              <a:off x="5450768" y="4372428"/>
              <a:ext cx="1560753" cy="438962"/>
            </a:xfrm>
            <a:prstGeom prst="rect">
              <a:avLst/>
            </a:prstGeom>
            <a:noFill/>
            <a:effectLst/>
          </p:spPr>
          <p:txBody>
            <a:bodyPr wrap="none" rtlCol="0">
              <a:spAutoFit/>
            </a:bodyPr>
            <a:lstStyle/>
            <a:p>
              <a:pPr algn="ctr"/>
              <a:r>
                <a:rPr lang="en-US" dirty="0">
                  <a:solidFill>
                    <a:schemeClr val="bg1"/>
                  </a:solidFill>
                  <a:cs typeface="Arial" pitchFamily="34" charset="0"/>
                </a:rPr>
                <a:t>Positioning</a:t>
              </a:r>
            </a:p>
          </p:txBody>
        </p:sp>
        <p:sp>
          <p:nvSpPr>
            <p:cNvPr id="58" name="TextBox 57">
              <a:extLst>
                <a:ext uri="{FF2B5EF4-FFF2-40B4-BE49-F238E27FC236}">
                  <a16:creationId xmlns:a16="http://schemas.microsoft.com/office/drawing/2014/main" id="{39B1B9DF-818B-4061-B61E-D8FD2EB8FCA5}"/>
                </a:ext>
              </a:extLst>
            </p:cNvPr>
            <p:cNvSpPr txBox="1"/>
            <p:nvPr/>
          </p:nvSpPr>
          <p:spPr>
            <a:xfrm>
              <a:off x="5529664" y="5236028"/>
              <a:ext cx="1402948" cy="369332"/>
            </a:xfrm>
            <a:prstGeom prst="rect">
              <a:avLst/>
            </a:prstGeom>
            <a:no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stStyle>
            <a:p>
              <a:pPr algn="ctr"/>
              <a:r>
                <a:rPr lang="en-US" dirty="0">
                  <a:solidFill>
                    <a:schemeClr val="bg1"/>
                  </a:solidFill>
                  <a:cs typeface="Arial" pitchFamily="34" charset="0"/>
                </a:rPr>
                <a:t>Risk</a:t>
              </a:r>
            </a:p>
          </p:txBody>
        </p:sp>
      </p:grpSp>
      <p:sp>
        <p:nvSpPr>
          <p:cNvPr id="59" name="TextBox 58">
            <a:extLst>
              <a:ext uri="{FF2B5EF4-FFF2-40B4-BE49-F238E27FC236}">
                <a16:creationId xmlns:a16="http://schemas.microsoft.com/office/drawing/2014/main" id="{47D07FE2-2696-4C97-8F35-2CE77D3847CA}"/>
              </a:ext>
            </a:extLst>
          </p:cNvPr>
          <p:cNvSpPr txBox="1"/>
          <p:nvPr/>
        </p:nvSpPr>
        <p:spPr>
          <a:xfrm>
            <a:off x="8282225" y="2293414"/>
            <a:ext cx="3642169" cy="738664"/>
          </a:xfrm>
          <a:prstGeom prst="rect">
            <a:avLst/>
          </a:prstGeom>
          <a:noFill/>
        </p:spPr>
        <p:txBody>
          <a:bodyPr wrap="square" rtlCol="0">
            <a:spAutoFit/>
          </a:bodyPr>
          <a:lstStyle/>
          <a:p>
            <a:r>
              <a:rPr lang="en-US" sz="1400" b="1" kern="0" dirty="0">
                <a:cs typeface="Arial" pitchFamily="34" charset="0"/>
              </a:rPr>
              <a:t>The acquisition of the target company needs to help us reach at least one of our M&amp;A strategic objectives</a:t>
            </a:r>
            <a:endParaRPr lang="en-US" sz="1400" b="1" dirty="0"/>
          </a:p>
        </p:txBody>
      </p:sp>
      <p:sp>
        <p:nvSpPr>
          <p:cNvPr id="60" name="TextBox 59">
            <a:extLst>
              <a:ext uri="{FF2B5EF4-FFF2-40B4-BE49-F238E27FC236}">
                <a16:creationId xmlns:a16="http://schemas.microsoft.com/office/drawing/2014/main" id="{EC994E38-37BF-4241-ADAB-2AE4B667994E}"/>
              </a:ext>
            </a:extLst>
          </p:cNvPr>
          <p:cNvSpPr txBox="1"/>
          <p:nvPr/>
        </p:nvSpPr>
        <p:spPr>
          <a:xfrm>
            <a:off x="8282225" y="3903663"/>
            <a:ext cx="3304937" cy="523220"/>
          </a:xfrm>
          <a:prstGeom prst="rect">
            <a:avLst/>
          </a:prstGeom>
          <a:noFill/>
        </p:spPr>
        <p:txBody>
          <a:bodyPr wrap="square" rtlCol="0">
            <a:spAutoFit/>
          </a:bodyPr>
          <a:lstStyle/>
          <a:p>
            <a:r>
              <a:rPr lang="en-US" sz="1400" b="1" kern="0" dirty="0">
                <a:cs typeface="Arial" pitchFamily="34" charset="0"/>
              </a:rPr>
              <a:t>The target company needs to sell its products mainly in the Asian market</a:t>
            </a:r>
            <a:endParaRPr lang="en-US" sz="1400" b="1" dirty="0"/>
          </a:p>
        </p:txBody>
      </p:sp>
      <p:sp>
        <p:nvSpPr>
          <p:cNvPr id="61" name="TextBox 60">
            <a:extLst>
              <a:ext uri="{FF2B5EF4-FFF2-40B4-BE49-F238E27FC236}">
                <a16:creationId xmlns:a16="http://schemas.microsoft.com/office/drawing/2014/main" id="{63F7EB39-9B80-4769-B09D-ECBBC2A6CE88}"/>
              </a:ext>
            </a:extLst>
          </p:cNvPr>
          <p:cNvSpPr txBox="1"/>
          <p:nvPr/>
        </p:nvSpPr>
        <p:spPr>
          <a:xfrm>
            <a:off x="8282226" y="5249520"/>
            <a:ext cx="3304936" cy="738664"/>
          </a:xfrm>
          <a:prstGeom prst="rect">
            <a:avLst/>
          </a:prstGeom>
          <a:noFill/>
        </p:spPr>
        <p:txBody>
          <a:bodyPr wrap="square" rtlCol="0">
            <a:spAutoFit/>
          </a:bodyPr>
          <a:lstStyle/>
          <a:p>
            <a:r>
              <a:rPr lang="en-GB" sz="1400" b="1" kern="0" dirty="0">
                <a:cs typeface="Arial" pitchFamily="34" charset="0"/>
              </a:rPr>
              <a:t>Acceptable impact on the Group’s financial and non-financial risk profile</a:t>
            </a:r>
            <a:endParaRPr lang="en-US" sz="1400" b="1" dirty="0"/>
          </a:p>
        </p:txBody>
      </p:sp>
      <p:sp>
        <p:nvSpPr>
          <p:cNvPr id="62" name="TextBox 61">
            <a:extLst>
              <a:ext uri="{FF2B5EF4-FFF2-40B4-BE49-F238E27FC236}">
                <a16:creationId xmlns:a16="http://schemas.microsoft.com/office/drawing/2014/main" id="{066FFD46-14D4-43F4-A930-149DC8CEE749}"/>
              </a:ext>
            </a:extLst>
          </p:cNvPr>
          <p:cNvSpPr txBox="1"/>
          <p:nvPr/>
        </p:nvSpPr>
        <p:spPr>
          <a:xfrm>
            <a:off x="1010142" y="3075109"/>
            <a:ext cx="2899632" cy="523220"/>
          </a:xfrm>
          <a:prstGeom prst="rect">
            <a:avLst/>
          </a:prstGeom>
          <a:noFill/>
        </p:spPr>
        <p:txBody>
          <a:bodyPr wrap="square" rtlCol="0">
            <a:spAutoFit/>
          </a:bodyPr>
          <a:lstStyle/>
          <a:p>
            <a:r>
              <a:rPr lang="en-US" sz="1400" b="1" kern="0" dirty="0">
                <a:cs typeface="Arial" pitchFamily="34" charset="0"/>
              </a:rPr>
              <a:t>The target company needs to have a revenue above $10M</a:t>
            </a:r>
            <a:endParaRPr lang="en-US" sz="1400" b="1" dirty="0"/>
          </a:p>
        </p:txBody>
      </p:sp>
      <p:sp>
        <p:nvSpPr>
          <p:cNvPr id="63" name="TextBox 62">
            <a:extLst>
              <a:ext uri="{FF2B5EF4-FFF2-40B4-BE49-F238E27FC236}">
                <a16:creationId xmlns:a16="http://schemas.microsoft.com/office/drawing/2014/main" id="{61087AA6-5327-4B82-993E-69A1259B9DAB}"/>
              </a:ext>
            </a:extLst>
          </p:cNvPr>
          <p:cNvSpPr txBox="1"/>
          <p:nvPr/>
        </p:nvSpPr>
        <p:spPr>
          <a:xfrm>
            <a:off x="720436" y="4594633"/>
            <a:ext cx="3189338" cy="738664"/>
          </a:xfrm>
          <a:prstGeom prst="rect">
            <a:avLst/>
          </a:prstGeom>
          <a:noFill/>
        </p:spPr>
        <p:txBody>
          <a:bodyPr wrap="square" rtlCol="0">
            <a:spAutoFit/>
          </a:bodyPr>
          <a:lstStyle/>
          <a:p>
            <a:r>
              <a:rPr lang="en-US" sz="1400" b="1" kern="0" dirty="0">
                <a:cs typeface="Arial" pitchFamily="34" charset="0"/>
              </a:rPr>
              <a:t>The target company needs to have a premium positioning and good reputation</a:t>
            </a:r>
            <a:endParaRPr lang="en-US" sz="1400" b="1" dirty="0"/>
          </a:p>
        </p:txBody>
      </p:sp>
      <p:pic>
        <p:nvPicPr>
          <p:cNvPr id="4" name="Graphic 3" descr="Building with solid fill">
            <a:extLst>
              <a:ext uri="{FF2B5EF4-FFF2-40B4-BE49-F238E27FC236}">
                <a16:creationId xmlns:a16="http://schemas.microsoft.com/office/drawing/2014/main" id="{325EE201-69AA-4933-ABAD-008FDAA5E48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49088" y="1684562"/>
            <a:ext cx="506818" cy="506818"/>
          </a:xfrm>
          <a:prstGeom prst="rect">
            <a:avLst/>
          </a:prstGeom>
        </p:spPr>
      </p:pic>
      <p:pic>
        <p:nvPicPr>
          <p:cNvPr id="76" name="Graphic 75" descr="Building with solid fill">
            <a:extLst>
              <a:ext uri="{FF2B5EF4-FFF2-40B4-BE49-F238E27FC236}">
                <a16:creationId xmlns:a16="http://schemas.microsoft.com/office/drawing/2014/main" id="{3C03AECA-1AE2-4B66-A3F4-995A498468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26017" y="1684562"/>
            <a:ext cx="506818" cy="506818"/>
          </a:xfrm>
          <a:prstGeom prst="rect">
            <a:avLst/>
          </a:prstGeom>
        </p:spPr>
      </p:pic>
      <p:pic>
        <p:nvPicPr>
          <p:cNvPr id="77" name="Graphic 76" descr="Building with solid fill">
            <a:extLst>
              <a:ext uri="{FF2B5EF4-FFF2-40B4-BE49-F238E27FC236}">
                <a16:creationId xmlns:a16="http://schemas.microsoft.com/office/drawing/2014/main" id="{80E979AA-A232-40A3-91CB-4976D10203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02946" y="1684562"/>
            <a:ext cx="506818" cy="506818"/>
          </a:xfrm>
          <a:prstGeom prst="rect">
            <a:avLst/>
          </a:prstGeom>
        </p:spPr>
      </p:pic>
      <p:pic>
        <p:nvPicPr>
          <p:cNvPr id="78" name="Graphic 77" descr="Building with solid fill">
            <a:extLst>
              <a:ext uri="{FF2B5EF4-FFF2-40B4-BE49-F238E27FC236}">
                <a16:creationId xmlns:a16="http://schemas.microsoft.com/office/drawing/2014/main" id="{1D31D3E2-EED1-4C85-A884-A816E69943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79875" y="1684562"/>
            <a:ext cx="506818" cy="506818"/>
          </a:xfrm>
          <a:prstGeom prst="rect">
            <a:avLst/>
          </a:prstGeom>
        </p:spPr>
      </p:pic>
      <p:pic>
        <p:nvPicPr>
          <p:cNvPr id="79" name="Graphic 78" descr="Building with solid fill">
            <a:extLst>
              <a:ext uri="{FF2B5EF4-FFF2-40B4-BE49-F238E27FC236}">
                <a16:creationId xmlns:a16="http://schemas.microsoft.com/office/drawing/2014/main" id="{3FC4BA47-6FF7-44DE-8366-543F245633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56804" y="1684562"/>
            <a:ext cx="506818" cy="506818"/>
          </a:xfrm>
          <a:prstGeom prst="rect">
            <a:avLst/>
          </a:prstGeom>
        </p:spPr>
      </p:pic>
      <p:pic>
        <p:nvPicPr>
          <p:cNvPr id="80" name="Graphic 79" descr="Building with solid fill">
            <a:extLst>
              <a:ext uri="{FF2B5EF4-FFF2-40B4-BE49-F238E27FC236}">
                <a16:creationId xmlns:a16="http://schemas.microsoft.com/office/drawing/2014/main" id="{79D1351A-400A-4388-9C79-3E504F8E79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33733" y="1684562"/>
            <a:ext cx="506818" cy="506818"/>
          </a:xfrm>
          <a:prstGeom prst="rect">
            <a:avLst/>
          </a:prstGeom>
        </p:spPr>
      </p:pic>
      <p:pic>
        <p:nvPicPr>
          <p:cNvPr id="81" name="Graphic 80" descr="Building with solid fill">
            <a:extLst>
              <a:ext uri="{FF2B5EF4-FFF2-40B4-BE49-F238E27FC236}">
                <a16:creationId xmlns:a16="http://schemas.microsoft.com/office/drawing/2014/main" id="{8C0429A2-B28E-4B6D-B2D7-7E3FEF861E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10662" y="1684562"/>
            <a:ext cx="506818" cy="506818"/>
          </a:xfrm>
          <a:prstGeom prst="rect">
            <a:avLst/>
          </a:prstGeom>
        </p:spPr>
      </p:pic>
      <p:pic>
        <p:nvPicPr>
          <p:cNvPr id="82" name="Graphic 81" descr="Building with solid fill">
            <a:extLst>
              <a:ext uri="{FF2B5EF4-FFF2-40B4-BE49-F238E27FC236}">
                <a16:creationId xmlns:a16="http://schemas.microsoft.com/office/drawing/2014/main" id="{CADC6DDD-A32A-4D63-8A1D-9883C95AE6C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87591" y="1684562"/>
            <a:ext cx="506818" cy="506818"/>
          </a:xfrm>
          <a:prstGeom prst="rect">
            <a:avLst/>
          </a:prstGeom>
        </p:spPr>
      </p:pic>
      <p:pic>
        <p:nvPicPr>
          <p:cNvPr id="83" name="Graphic 82" descr="Building with solid fill">
            <a:extLst>
              <a:ext uri="{FF2B5EF4-FFF2-40B4-BE49-F238E27FC236}">
                <a16:creationId xmlns:a16="http://schemas.microsoft.com/office/drawing/2014/main" id="{78F446D5-4B6B-4F0F-9E6D-12EB69C50F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64522" y="1684562"/>
            <a:ext cx="506818" cy="506818"/>
          </a:xfrm>
          <a:prstGeom prst="rect">
            <a:avLst/>
          </a:prstGeom>
        </p:spPr>
      </p:pic>
      <p:pic>
        <p:nvPicPr>
          <p:cNvPr id="84" name="Graphic 83" descr="Building with solid fill">
            <a:extLst>
              <a:ext uri="{FF2B5EF4-FFF2-40B4-BE49-F238E27FC236}">
                <a16:creationId xmlns:a16="http://schemas.microsoft.com/office/drawing/2014/main" id="{1D3A5DB3-E4B9-4A48-B4DA-F6C47A69D7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35291" y="6016082"/>
            <a:ext cx="506818" cy="506818"/>
          </a:xfrm>
          <a:prstGeom prst="rect">
            <a:avLst/>
          </a:prstGeom>
        </p:spPr>
      </p:pic>
      <p:pic>
        <p:nvPicPr>
          <p:cNvPr id="85" name="Graphic 84" descr="Building with solid fill">
            <a:extLst>
              <a:ext uri="{FF2B5EF4-FFF2-40B4-BE49-F238E27FC236}">
                <a16:creationId xmlns:a16="http://schemas.microsoft.com/office/drawing/2014/main" id="{54E201D2-79A7-4295-8250-B0552A5EF6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12220" y="6016082"/>
            <a:ext cx="506818" cy="506818"/>
          </a:xfrm>
          <a:prstGeom prst="rect">
            <a:avLst/>
          </a:prstGeom>
        </p:spPr>
      </p:pic>
      <p:pic>
        <p:nvPicPr>
          <p:cNvPr id="86" name="Graphic 85" descr="Building with solid fill">
            <a:extLst>
              <a:ext uri="{FF2B5EF4-FFF2-40B4-BE49-F238E27FC236}">
                <a16:creationId xmlns:a16="http://schemas.microsoft.com/office/drawing/2014/main" id="{CA97928E-E0C0-4670-A968-93218FEA53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89149" y="6016082"/>
            <a:ext cx="506818" cy="506818"/>
          </a:xfrm>
          <a:prstGeom prst="rect">
            <a:avLst/>
          </a:prstGeom>
        </p:spPr>
      </p:pic>
      <p:sp>
        <p:nvSpPr>
          <p:cNvPr id="87" name="Speech Bubble: Rectangle with Corners Rounded 86">
            <a:extLst>
              <a:ext uri="{FF2B5EF4-FFF2-40B4-BE49-F238E27FC236}">
                <a16:creationId xmlns:a16="http://schemas.microsoft.com/office/drawing/2014/main" id="{97A9D4FC-0843-4477-A7B4-85DA8107A3A5}"/>
              </a:ext>
            </a:extLst>
          </p:cNvPr>
          <p:cNvSpPr/>
          <p:nvPr/>
        </p:nvSpPr>
        <p:spPr bwMode="auto">
          <a:xfrm>
            <a:off x="8621062" y="1302970"/>
            <a:ext cx="3207917" cy="918687"/>
          </a:xfrm>
          <a:prstGeom prst="wedgeRoundRectCallout">
            <a:avLst>
              <a:gd name="adj1" fmla="val -44680"/>
              <a:gd name="adj2" fmla="val 6348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Simply reuse the slide you’ve already done in the previous deliverable called “M&amp;A Strategy”</a:t>
            </a:r>
            <a:endParaRPr lang="en-US" sz="1200" b="1" dirty="0">
              <a:solidFill>
                <a:srgbClr val="0C2870"/>
              </a:solidFill>
              <a:latin typeface="Arial" charset="0"/>
              <a:cs typeface="Times New Roman" pitchFamily="18" charset="0"/>
            </a:endParaRPr>
          </a:p>
        </p:txBody>
      </p:sp>
      <p:sp>
        <p:nvSpPr>
          <p:cNvPr id="2" name="Rectangle: Rounded Corners 1">
            <a:extLst>
              <a:ext uri="{FF2B5EF4-FFF2-40B4-BE49-F238E27FC236}">
                <a16:creationId xmlns:a16="http://schemas.microsoft.com/office/drawing/2014/main" id="{C27C4128-B635-8A50-EA11-82B4F982F2DA}"/>
              </a:ext>
            </a:extLst>
          </p:cNvPr>
          <p:cNvSpPr/>
          <p:nvPr/>
        </p:nvSpPr>
        <p:spPr>
          <a:xfrm>
            <a:off x="10237587" y="283251"/>
            <a:ext cx="1663438"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Best Practices</a:t>
            </a:r>
          </a:p>
        </p:txBody>
      </p:sp>
    </p:spTree>
    <p:extLst>
      <p:ext uri="{BB962C8B-B14F-4D97-AF65-F5344CB8AC3E}">
        <p14:creationId xmlns:p14="http://schemas.microsoft.com/office/powerpoint/2010/main" val="32797101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e identified 6 [insert your own number] screening criteria to help us select the right companies to potentially acquire</a:t>
            </a:r>
            <a:endParaRPr lang="en-US" sz="2400" kern="0" dirty="0"/>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cxnSp>
        <p:nvCxnSpPr>
          <p:cNvPr id="20" name="Straight Connector 19">
            <a:extLst>
              <a:ext uri="{FF2B5EF4-FFF2-40B4-BE49-F238E27FC236}">
                <a16:creationId xmlns:a16="http://schemas.microsoft.com/office/drawing/2014/main" id="{20AEA728-4591-4064-BF22-1324704EA368}"/>
              </a:ext>
            </a:extLst>
          </p:cNvPr>
          <p:cNvCxnSpPr>
            <a:cxnSpLocks/>
          </p:cNvCxnSpPr>
          <p:nvPr/>
        </p:nvCxnSpPr>
        <p:spPr>
          <a:xfrm>
            <a:off x="7005887" y="2617580"/>
            <a:ext cx="1025805" cy="1145"/>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C4154393-69BD-4256-83B9-7AB6B511F539}"/>
              </a:ext>
            </a:extLst>
          </p:cNvPr>
          <p:cNvSpPr/>
          <p:nvPr/>
        </p:nvSpPr>
        <p:spPr>
          <a:xfrm>
            <a:off x="8002853" y="2565706"/>
            <a:ext cx="122400" cy="104893"/>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Connector 21">
            <a:extLst>
              <a:ext uri="{FF2B5EF4-FFF2-40B4-BE49-F238E27FC236}">
                <a16:creationId xmlns:a16="http://schemas.microsoft.com/office/drawing/2014/main" id="{7B6444FD-EB2F-44DE-BE6A-97C67CD0E2C1}"/>
              </a:ext>
            </a:extLst>
          </p:cNvPr>
          <p:cNvCxnSpPr>
            <a:cxnSpLocks/>
          </p:cNvCxnSpPr>
          <p:nvPr/>
        </p:nvCxnSpPr>
        <p:spPr>
          <a:xfrm>
            <a:off x="7005887" y="3886705"/>
            <a:ext cx="1025805" cy="1145"/>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211A113D-B49F-4321-9B64-2DA0316D05F7}"/>
              </a:ext>
            </a:extLst>
          </p:cNvPr>
          <p:cNvSpPr/>
          <p:nvPr/>
        </p:nvSpPr>
        <p:spPr>
          <a:xfrm>
            <a:off x="8002853" y="3834831"/>
            <a:ext cx="122400" cy="104893"/>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7" name="Straight Connector 36">
            <a:extLst>
              <a:ext uri="{FF2B5EF4-FFF2-40B4-BE49-F238E27FC236}">
                <a16:creationId xmlns:a16="http://schemas.microsoft.com/office/drawing/2014/main" id="{208A4C52-4E6B-427A-83A1-ECE3F1DB2785}"/>
              </a:ext>
            </a:extLst>
          </p:cNvPr>
          <p:cNvCxnSpPr>
            <a:cxnSpLocks/>
          </p:cNvCxnSpPr>
          <p:nvPr/>
        </p:nvCxnSpPr>
        <p:spPr>
          <a:xfrm>
            <a:off x="6795224" y="5103336"/>
            <a:ext cx="1219158" cy="1240"/>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5684BCB9-1D64-4814-8E68-C23822DA165B}"/>
              </a:ext>
            </a:extLst>
          </p:cNvPr>
          <p:cNvSpPr/>
          <p:nvPr/>
        </p:nvSpPr>
        <p:spPr>
          <a:xfrm>
            <a:off x="7980108" y="5051509"/>
            <a:ext cx="122400" cy="104893"/>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9" name="Straight Connector 38">
            <a:extLst>
              <a:ext uri="{FF2B5EF4-FFF2-40B4-BE49-F238E27FC236}">
                <a16:creationId xmlns:a16="http://schemas.microsoft.com/office/drawing/2014/main" id="{C5A847E9-72AE-4EF6-9F3B-B03DC7C7295E}"/>
              </a:ext>
            </a:extLst>
          </p:cNvPr>
          <p:cNvCxnSpPr>
            <a:cxnSpLocks/>
          </p:cNvCxnSpPr>
          <p:nvPr/>
        </p:nvCxnSpPr>
        <p:spPr>
          <a:xfrm flipH="1">
            <a:off x="4106610" y="3239979"/>
            <a:ext cx="1025805" cy="1145"/>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B2BE7CAA-8DE3-4194-9626-AB0115E835C9}"/>
              </a:ext>
            </a:extLst>
          </p:cNvPr>
          <p:cNvSpPr/>
          <p:nvPr/>
        </p:nvSpPr>
        <p:spPr>
          <a:xfrm flipH="1">
            <a:off x="4014765" y="3188841"/>
            <a:ext cx="120683" cy="103422"/>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382DAA24-2637-4218-B03C-3D3372996660}"/>
              </a:ext>
            </a:extLst>
          </p:cNvPr>
          <p:cNvCxnSpPr>
            <a:cxnSpLocks/>
          </p:cNvCxnSpPr>
          <p:nvPr/>
        </p:nvCxnSpPr>
        <p:spPr>
          <a:xfrm flipH="1">
            <a:off x="4106610" y="4478845"/>
            <a:ext cx="1025805" cy="1145"/>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7B87E424-9BB0-4DE3-B024-133E76635D87}"/>
              </a:ext>
            </a:extLst>
          </p:cNvPr>
          <p:cNvSpPr/>
          <p:nvPr/>
        </p:nvSpPr>
        <p:spPr>
          <a:xfrm flipH="1">
            <a:off x="4014765" y="4427707"/>
            <a:ext cx="120683" cy="103422"/>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eform 6">
            <a:extLst>
              <a:ext uri="{FF2B5EF4-FFF2-40B4-BE49-F238E27FC236}">
                <a16:creationId xmlns:a16="http://schemas.microsoft.com/office/drawing/2014/main" id="{F4838B57-EE6F-4E30-A12E-B872C18B1D4C}"/>
              </a:ext>
            </a:extLst>
          </p:cNvPr>
          <p:cNvSpPr>
            <a:spLocks/>
          </p:cNvSpPr>
          <p:nvPr/>
        </p:nvSpPr>
        <p:spPr bwMode="auto">
          <a:xfrm>
            <a:off x="4332284" y="2221658"/>
            <a:ext cx="3473735" cy="635694"/>
          </a:xfrm>
          <a:custGeom>
            <a:avLst/>
            <a:gdLst/>
            <a:ahLst/>
            <a:cxnLst>
              <a:cxn ang="0">
                <a:pos x="1329" y="0"/>
              </a:cxn>
              <a:cxn ang="0">
                <a:pos x="1655" y="0"/>
              </a:cxn>
              <a:cxn ang="0">
                <a:pos x="1813" y="5"/>
              </a:cxn>
              <a:cxn ang="0">
                <a:pos x="1964" y="9"/>
              </a:cxn>
              <a:cxn ang="0">
                <a:pos x="2108" y="16"/>
              </a:cxn>
              <a:cxn ang="0">
                <a:pos x="2246" y="26"/>
              </a:cxn>
              <a:cxn ang="0">
                <a:pos x="2374" y="37"/>
              </a:cxn>
              <a:cxn ang="0">
                <a:pos x="2490" y="49"/>
              </a:cxn>
              <a:cxn ang="0">
                <a:pos x="2599" y="63"/>
              </a:cxn>
              <a:cxn ang="0">
                <a:pos x="2695" y="79"/>
              </a:cxn>
              <a:cxn ang="0">
                <a:pos x="2778" y="96"/>
              </a:cxn>
              <a:cxn ang="0">
                <a:pos x="2851" y="114"/>
              </a:cxn>
              <a:cxn ang="0">
                <a:pos x="2906" y="133"/>
              </a:cxn>
              <a:cxn ang="0">
                <a:pos x="2948" y="154"/>
              </a:cxn>
              <a:cxn ang="0">
                <a:pos x="2974" y="175"/>
              </a:cxn>
              <a:cxn ang="0">
                <a:pos x="2983" y="196"/>
              </a:cxn>
              <a:cxn ang="0">
                <a:pos x="2983" y="637"/>
              </a:cxn>
              <a:cxn ang="0">
                <a:pos x="0" y="637"/>
              </a:cxn>
              <a:cxn ang="0">
                <a:pos x="0" y="196"/>
              </a:cxn>
              <a:cxn ang="0">
                <a:pos x="10" y="175"/>
              </a:cxn>
              <a:cxn ang="0">
                <a:pos x="35" y="154"/>
              </a:cxn>
              <a:cxn ang="0">
                <a:pos x="77" y="133"/>
              </a:cxn>
              <a:cxn ang="0">
                <a:pos x="133" y="114"/>
              </a:cxn>
              <a:cxn ang="0">
                <a:pos x="205" y="96"/>
              </a:cxn>
              <a:cxn ang="0">
                <a:pos x="289" y="79"/>
              </a:cxn>
              <a:cxn ang="0">
                <a:pos x="384" y="63"/>
              </a:cxn>
              <a:cxn ang="0">
                <a:pos x="494" y="49"/>
              </a:cxn>
              <a:cxn ang="0">
                <a:pos x="610" y="37"/>
              </a:cxn>
              <a:cxn ang="0">
                <a:pos x="738" y="26"/>
              </a:cxn>
              <a:cxn ang="0">
                <a:pos x="875" y="16"/>
              </a:cxn>
              <a:cxn ang="0">
                <a:pos x="1019" y="9"/>
              </a:cxn>
              <a:cxn ang="0">
                <a:pos x="1171" y="5"/>
              </a:cxn>
              <a:cxn ang="0">
                <a:pos x="1329" y="0"/>
              </a:cxn>
            </a:cxnLst>
            <a:rect l="0" t="0" r="r" b="b"/>
            <a:pathLst>
              <a:path w="2983" h="637">
                <a:moveTo>
                  <a:pt x="1329" y="0"/>
                </a:moveTo>
                <a:lnTo>
                  <a:pt x="1655" y="0"/>
                </a:lnTo>
                <a:lnTo>
                  <a:pt x="1813" y="5"/>
                </a:lnTo>
                <a:lnTo>
                  <a:pt x="1964" y="9"/>
                </a:lnTo>
                <a:lnTo>
                  <a:pt x="2108" y="16"/>
                </a:lnTo>
                <a:lnTo>
                  <a:pt x="2246" y="26"/>
                </a:lnTo>
                <a:lnTo>
                  <a:pt x="2374" y="37"/>
                </a:lnTo>
                <a:lnTo>
                  <a:pt x="2490" y="49"/>
                </a:lnTo>
                <a:lnTo>
                  <a:pt x="2599" y="63"/>
                </a:lnTo>
                <a:lnTo>
                  <a:pt x="2695" y="79"/>
                </a:lnTo>
                <a:lnTo>
                  <a:pt x="2778" y="96"/>
                </a:lnTo>
                <a:lnTo>
                  <a:pt x="2851" y="114"/>
                </a:lnTo>
                <a:lnTo>
                  <a:pt x="2906" y="133"/>
                </a:lnTo>
                <a:lnTo>
                  <a:pt x="2948" y="154"/>
                </a:lnTo>
                <a:lnTo>
                  <a:pt x="2974" y="175"/>
                </a:lnTo>
                <a:lnTo>
                  <a:pt x="2983" y="196"/>
                </a:lnTo>
                <a:lnTo>
                  <a:pt x="2983" y="637"/>
                </a:lnTo>
                <a:lnTo>
                  <a:pt x="0" y="637"/>
                </a:lnTo>
                <a:lnTo>
                  <a:pt x="0" y="196"/>
                </a:lnTo>
                <a:lnTo>
                  <a:pt x="10" y="175"/>
                </a:lnTo>
                <a:lnTo>
                  <a:pt x="35" y="154"/>
                </a:lnTo>
                <a:lnTo>
                  <a:pt x="77" y="133"/>
                </a:lnTo>
                <a:lnTo>
                  <a:pt x="133" y="114"/>
                </a:lnTo>
                <a:lnTo>
                  <a:pt x="205" y="96"/>
                </a:lnTo>
                <a:lnTo>
                  <a:pt x="289" y="79"/>
                </a:lnTo>
                <a:lnTo>
                  <a:pt x="384" y="63"/>
                </a:lnTo>
                <a:lnTo>
                  <a:pt x="494" y="49"/>
                </a:lnTo>
                <a:lnTo>
                  <a:pt x="610" y="37"/>
                </a:lnTo>
                <a:lnTo>
                  <a:pt x="738" y="26"/>
                </a:lnTo>
                <a:lnTo>
                  <a:pt x="875" y="16"/>
                </a:lnTo>
                <a:lnTo>
                  <a:pt x="1019" y="9"/>
                </a:lnTo>
                <a:lnTo>
                  <a:pt x="1171" y="5"/>
                </a:lnTo>
                <a:lnTo>
                  <a:pt x="132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7">
            <a:extLst>
              <a:ext uri="{FF2B5EF4-FFF2-40B4-BE49-F238E27FC236}">
                <a16:creationId xmlns:a16="http://schemas.microsoft.com/office/drawing/2014/main" id="{C30115AD-B707-4CF9-A747-D3623D3C6BF8}"/>
              </a:ext>
            </a:extLst>
          </p:cNvPr>
          <p:cNvSpPr>
            <a:spLocks/>
          </p:cNvSpPr>
          <p:nvPr/>
        </p:nvSpPr>
        <p:spPr bwMode="auto">
          <a:xfrm>
            <a:off x="4332284" y="2664748"/>
            <a:ext cx="3473735" cy="389200"/>
          </a:xfrm>
          <a:custGeom>
            <a:avLst/>
            <a:gdLst/>
            <a:ahLst/>
            <a:cxnLst>
              <a:cxn ang="0">
                <a:pos x="1329" y="0"/>
              </a:cxn>
              <a:cxn ang="0">
                <a:pos x="1655" y="0"/>
              </a:cxn>
              <a:cxn ang="0">
                <a:pos x="1813" y="4"/>
              </a:cxn>
              <a:cxn ang="0">
                <a:pos x="1964" y="9"/>
              </a:cxn>
              <a:cxn ang="0">
                <a:pos x="2108" y="16"/>
              </a:cxn>
              <a:cxn ang="0">
                <a:pos x="2246" y="25"/>
              </a:cxn>
              <a:cxn ang="0">
                <a:pos x="2374" y="37"/>
              </a:cxn>
              <a:cxn ang="0">
                <a:pos x="2490" y="49"/>
              </a:cxn>
              <a:cxn ang="0">
                <a:pos x="2599" y="63"/>
              </a:cxn>
              <a:cxn ang="0">
                <a:pos x="2695" y="79"/>
              </a:cxn>
              <a:cxn ang="0">
                <a:pos x="2778" y="95"/>
              </a:cxn>
              <a:cxn ang="0">
                <a:pos x="2851" y="114"/>
              </a:cxn>
              <a:cxn ang="0">
                <a:pos x="2906" y="133"/>
              </a:cxn>
              <a:cxn ang="0">
                <a:pos x="2948" y="151"/>
              </a:cxn>
              <a:cxn ang="0">
                <a:pos x="2974" y="172"/>
              </a:cxn>
              <a:cxn ang="0">
                <a:pos x="2983" y="193"/>
              </a:cxn>
              <a:cxn ang="0">
                <a:pos x="2974" y="214"/>
              </a:cxn>
              <a:cxn ang="0">
                <a:pos x="2948" y="235"/>
              </a:cxn>
              <a:cxn ang="0">
                <a:pos x="2906" y="254"/>
              </a:cxn>
              <a:cxn ang="0">
                <a:pos x="2851" y="275"/>
              </a:cxn>
              <a:cxn ang="0">
                <a:pos x="2778" y="292"/>
              </a:cxn>
              <a:cxn ang="0">
                <a:pos x="2695" y="308"/>
              </a:cxn>
              <a:cxn ang="0">
                <a:pos x="2599" y="324"/>
              </a:cxn>
              <a:cxn ang="0">
                <a:pos x="2490" y="338"/>
              </a:cxn>
              <a:cxn ang="0">
                <a:pos x="2374" y="352"/>
              </a:cxn>
              <a:cxn ang="0">
                <a:pos x="2246" y="362"/>
              </a:cxn>
              <a:cxn ang="0">
                <a:pos x="2108" y="371"/>
              </a:cxn>
              <a:cxn ang="0">
                <a:pos x="1964" y="380"/>
              </a:cxn>
              <a:cxn ang="0">
                <a:pos x="1813" y="385"/>
              </a:cxn>
              <a:cxn ang="0">
                <a:pos x="1655" y="390"/>
              </a:cxn>
              <a:cxn ang="0">
                <a:pos x="1329" y="390"/>
              </a:cxn>
              <a:cxn ang="0">
                <a:pos x="1171" y="385"/>
              </a:cxn>
              <a:cxn ang="0">
                <a:pos x="1019" y="380"/>
              </a:cxn>
              <a:cxn ang="0">
                <a:pos x="875" y="371"/>
              </a:cxn>
              <a:cxn ang="0">
                <a:pos x="738" y="362"/>
              </a:cxn>
              <a:cxn ang="0">
                <a:pos x="610" y="352"/>
              </a:cxn>
              <a:cxn ang="0">
                <a:pos x="494" y="338"/>
              </a:cxn>
              <a:cxn ang="0">
                <a:pos x="384" y="324"/>
              </a:cxn>
              <a:cxn ang="0">
                <a:pos x="289" y="308"/>
              </a:cxn>
              <a:cxn ang="0">
                <a:pos x="205" y="292"/>
              </a:cxn>
              <a:cxn ang="0">
                <a:pos x="133" y="275"/>
              </a:cxn>
              <a:cxn ang="0">
                <a:pos x="77" y="254"/>
              </a:cxn>
              <a:cxn ang="0">
                <a:pos x="35" y="235"/>
              </a:cxn>
              <a:cxn ang="0">
                <a:pos x="10" y="214"/>
              </a:cxn>
              <a:cxn ang="0">
                <a:pos x="0" y="193"/>
              </a:cxn>
              <a:cxn ang="0">
                <a:pos x="10" y="172"/>
              </a:cxn>
              <a:cxn ang="0">
                <a:pos x="35" y="151"/>
              </a:cxn>
              <a:cxn ang="0">
                <a:pos x="77" y="133"/>
              </a:cxn>
              <a:cxn ang="0">
                <a:pos x="133" y="114"/>
              </a:cxn>
              <a:cxn ang="0">
                <a:pos x="205" y="95"/>
              </a:cxn>
              <a:cxn ang="0">
                <a:pos x="289" y="79"/>
              </a:cxn>
              <a:cxn ang="0">
                <a:pos x="384" y="63"/>
              </a:cxn>
              <a:cxn ang="0">
                <a:pos x="494" y="49"/>
              </a:cxn>
              <a:cxn ang="0">
                <a:pos x="610" y="37"/>
              </a:cxn>
              <a:cxn ang="0">
                <a:pos x="738" y="25"/>
              </a:cxn>
              <a:cxn ang="0">
                <a:pos x="875" y="16"/>
              </a:cxn>
              <a:cxn ang="0">
                <a:pos x="1019" y="9"/>
              </a:cxn>
              <a:cxn ang="0">
                <a:pos x="1171" y="4"/>
              </a:cxn>
              <a:cxn ang="0">
                <a:pos x="1329" y="0"/>
              </a:cxn>
            </a:cxnLst>
            <a:rect l="0" t="0" r="r" b="b"/>
            <a:pathLst>
              <a:path w="2983" h="390">
                <a:moveTo>
                  <a:pt x="1329" y="0"/>
                </a:moveTo>
                <a:lnTo>
                  <a:pt x="1655" y="0"/>
                </a:lnTo>
                <a:lnTo>
                  <a:pt x="1813" y="4"/>
                </a:lnTo>
                <a:lnTo>
                  <a:pt x="1964" y="9"/>
                </a:lnTo>
                <a:lnTo>
                  <a:pt x="2108" y="16"/>
                </a:lnTo>
                <a:lnTo>
                  <a:pt x="2246" y="25"/>
                </a:lnTo>
                <a:lnTo>
                  <a:pt x="2374" y="37"/>
                </a:lnTo>
                <a:lnTo>
                  <a:pt x="2490" y="49"/>
                </a:lnTo>
                <a:lnTo>
                  <a:pt x="2599" y="63"/>
                </a:lnTo>
                <a:lnTo>
                  <a:pt x="2695" y="79"/>
                </a:lnTo>
                <a:lnTo>
                  <a:pt x="2778" y="95"/>
                </a:lnTo>
                <a:lnTo>
                  <a:pt x="2851" y="114"/>
                </a:lnTo>
                <a:lnTo>
                  <a:pt x="2906" y="133"/>
                </a:lnTo>
                <a:lnTo>
                  <a:pt x="2948" y="151"/>
                </a:lnTo>
                <a:lnTo>
                  <a:pt x="2974" y="172"/>
                </a:lnTo>
                <a:lnTo>
                  <a:pt x="2983" y="193"/>
                </a:lnTo>
                <a:lnTo>
                  <a:pt x="2974" y="214"/>
                </a:lnTo>
                <a:lnTo>
                  <a:pt x="2948" y="235"/>
                </a:lnTo>
                <a:lnTo>
                  <a:pt x="2906" y="254"/>
                </a:lnTo>
                <a:lnTo>
                  <a:pt x="2851" y="275"/>
                </a:lnTo>
                <a:lnTo>
                  <a:pt x="2778" y="292"/>
                </a:lnTo>
                <a:lnTo>
                  <a:pt x="2695" y="308"/>
                </a:lnTo>
                <a:lnTo>
                  <a:pt x="2599" y="324"/>
                </a:lnTo>
                <a:lnTo>
                  <a:pt x="2490" y="338"/>
                </a:lnTo>
                <a:lnTo>
                  <a:pt x="2374" y="352"/>
                </a:lnTo>
                <a:lnTo>
                  <a:pt x="2246" y="362"/>
                </a:lnTo>
                <a:lnTo>
                  <a:pt x="2108" y="371"/>
                </a:lnTo>
                <a:lnTo>
                  <a:pt x="1964" y="380"/>
                </a:lnTo>
                <a:lnTo>
                  <a:pt x="1813" y="385"/>
                </a:lnTo>
                <a:lnTo>
                  <a:pt x="1655" y="390"/>
                </a:lnTo>
                <a:lnTo>
                  <a:pt x="1329" y="390"/>
                </a:lnTo>
                <a:lnTo>
                  <a:pt x="1171" y="385"/>
                </a:lnTo>
                <a:lnTo>
                  <a:pt x="1019" y="380"/>
                </a:lnTo>
                <a:lnTo>
                  <a:pt x="875" y="371"/>
                </a:lnTo>
                <a:lnTo>
                  <a:pt x="738" y="362"/>
                </a:lnTo>
                <a:lnTo>
                  <a:pt x="610" y="352"/>
                </a:lnTo>
                <a:lnTo>
                  <a:pt x="494" y="338"/>
                </a:lnTo>
                <a:lnTo>
                  <a:pt x="384" y="324"/>
                </a:lnTo>
                <a:lnTo>
                  <a:pt x="289" y="308"/>
                </a:lnTo>
                <a:lnTo>
                  <a:pt x="205" y="292"/>
                </a:lnTo>
                <a:lnTo>
                  <a:pt x="133" y="275"/>
                </a:lnTo>
                <a:lnTo>
                  <a:pt x="77" y="254"/>
                </a:lnTo>
                <a:lnTo>
                  <a:pt x="35" y="235"/>
                </a:lnTo>
                <a:lnTo>
                  <a:pt x="10" y="214"/>
                </a:lnTo>
                <a:lnTo>
                  <a:pt x="0" y="193"/>
                </a:lnTo>
                <a:lnTo>
                  <a:pt x="10" y="172"/>
                </a:lnTo>
                <a:lnTo>
                  <a:pt x="35" y="151"/>
                </a:lnTo>
                <a:lnTo>
                  <a:pt x="77" y="133"/>
                </a:lnTo>
                <a:lnTo>
                  <a:pt x="133" y="114"/>
                </a:lnTo>
                <a:lnTo>
                  <a:pt x="205" y="95"/>
                </a:lnTo>
                <a:lnTo>
                  <a:pt x="289" y="79"/>
                </a:lnTo>
                <a:lnTo>
                  <a:pt x="384" y="63"/>
                </a:lnTo>
                <a:lnTo>
                  <a:pt x="494" y="49"/>
                </a:lnTo>
                <a:lnTo>
                  <a:pt x="610" y="37"/>
                </a:lnTo>
                <a:lnTo>
                  <a:pt x="738" y="25"/>
                </a:lnTo>
                <a:lnTo>
                  <a:pt x="875" y="16"/>
                </a:lnTo>
                <a:lnTo>
                  <a:pt x="1019" y="9"/>
                </a:lnTo>
                <a:lnTo>
                  <a:pt x="1171" y="4"/>
                </a:lnTo>
                <a:lnTo>
                  <a:pt x="1329"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2">
            <a:extLst>
              <a:ext uri="{FF2B5EF4-FFF2-40B4-BE49-F238E27FC236}">
                <a16:creationId xmlns:a16="http://schemas.microsoft.com/office/drawing/2014/main" id="{99B6D50A-B294-4D0F-8B1E-9B38F1A523C9}"/>
              </a:ext>
            </a:extLst>
          </p:cNvPr>
          <p:cNvSpPr>
            <a:spLocks/>
          </p:cNvSpPr>
          <p:nvPr/>
        </p:nvSpPr>
        <p:spPr bwMode="auto">
          <a:xfrm>
            <a:off x="4619918" y="2895275"/>
            <a:ext cx="2899632" cy="607751"/>
          </a:xfrm>
          <a:custGeom>
            <a:avLst/>
            <a:gdLst/>
            <a:ahLst/>
            <a:cxnLst>
              <a:cxn ang="0">
                <a:pos x="1100" y="0"/>
              </a:cxn>
              <a:cxn ang="0">
                <a:pos x="1389" y="0"/>
              </a:cxn>
              <a:cxn ang="0">
                <a:pos x="1531" y="4"/>
              </a:cxn>
              <a:cxn ang="0">
                <a:pos x="1666" y="9"/>
              </a:cxn>
              <a:cxn ang="0">
                <a:pos x="1794" y="16"/>
              </a:cxn>
              <a:cxn ang="0">
                <a:pos x="1913" y="26"/>
              </a:cxn>
              <a:cxn ang="0">
                <a:pos x="2024" y="37"/>
              </a:cxn>
              <a:cxn ang="0">
                <a:pos x="2127" y="49"/>
              </a:cxn>
              <a:cxn ang="0">
                <a:pos x="2217" y="61"/>
              </a:cxn>
              <a:cxn ang="0">
                <a:pos x="2296" y="77"/>
              </a:cxn>
              <a:cxn ang="0">
                <a:pos x="2364" y="93"/>
              </a:cxn>
              <a:cxn ang="0">
                <a:pos x="2417" y="110"/>
              </a:cxn>
              <a:cxn ang="0">
                <a:pos x="2457" y="126"/>
              </a:cxn>
              <a:cxn ang="0">
                <a:pos x="2480" y="145"/>
              </a:cxn>
              <a:cxn ang="0">
                <a:pos x="2490" y="163"/>
              </a:cxn>
              <a:cxn ang="0">
                <a:pos x="2490" y="609"/>
              </a:cxn>
              <a:cxn ang="0">
                <a:pos x="0" y="609"/>
              </a:cxn>
              <a:cxn ang="0">
                <a:pos x="0" y="163"/>
              </a:cxn>
              <a:cxn ang="0">
                <a:pos x="9" y="145"/>
              </a:cxn>
              <a:cxn ang="0">
                <a:pos x="33" y="126"/>
              </a:cxn>
              <a:cxn ang="0">
                <a:pos x="72" y="110"/>
              </a:cxn>
              <a:cxn ang="0">
                <a:pos x="126" y="93"/>
              </a:cxn>
              <a:cxn ang="0">
                <a:pos x="193" y="77"/>
              </a:cxn>
              <a:cxn ang="0">
                <a:pos x="272" y="61"/>
              </a:cxn>
              <a:cxn ang="0">
                <a:pos x="365" y="49"/>
              </a:cxn>
              <a:cxn ang="0">
                <a:pos x="465" y="37"/>
              </a:cxn>
              <a:cxn ang="0">
                <a:pos x="577" y="26"/>
              </a:cxn>
              <a:cxn ang="0">
                <a:pos x="696" y="16"/>
              </a:cxn>
              <a:cxn ang="0">
                <a:pos x="824" y="9"/>
              </a:cxn>
              <a:cxn ang="0">
                <a:pos x="959" y="4"/>
              </a:cxn>
              <a:cxn ang="0">
                <a:pos x="1100" y="0"/>
              </a:cxn>
            </a:cxnLst>
            <a:rect l="0" t="0" r="r" b="b"/>
            <a:pathLst>
              <a:path w="2490" h="609">
                <a:moveTo>
                  <a:pt x="1100" y="0"/>
                </a:moveTo>
                <a:lnTo>
                  <a:pt x="1389" y="0"/>
                </a:lnTo>
                <a:lnTo>
                  <a:pt x="1531" y="4"/>
                </a:lnTo>
                <a:lnTo>
                  <a:pt x="1666" y="9"/>
                </a:lnTo>
                <a:lnTo>
                  <a:pt x="1794" y="16"/>
                </a:lnTo>
                <a:lnTo>
                  <a:pt x="1913" y="26"/>
                </a:lnTo>
                <a:lnTo>
                  <a:pt x="2024" y="37"/>
                </a:lnTo>
                <a:lnTo>
                  <a:pt x="2127" y="49"/>
                </a:lnTo>
                <a:lnTo>
                  <a:pt x="2217" y="61"/>
                </a:lnTo>
                <a:lnTo>
                  <a:pt x="2296" y="77"/>
                </a:lnTo>
                <a:lnTo>
                  <a:pt x="2364" y="93"/>
                </a:lnTo>
                <a:lnTo>
                  <a:pt x="2417" y="110"/>
                </a:lnTo>
                <a:lnTo>
                  <a:pt x="2457" y="126"/>
                </a:lnTo>
                <a:lnTo>
                  <a:pt x="2480" y="145"/>
                </a:lnTo>
                <a:lnTo>
                  <a:pt x="2490" y="163"/>
                </a:lnTo>
                <a:lnTo>
                  <a:pt x="2490" y="609"/>
                </a:lnTo>
                <a:lnTo>
                  <a:pt x="0" y="609"/>
                </a:lnTo>
                <a:lnTo>
                  <a:pt x="0" y="163"/>
                </a:lnTo>
                <a:lnTo>
                  <a:pt x="9" y="145"/>
                </a:lnTo>
                <a:lnTo>
                  <a:pt x="33" y="126"/>
                </a:lnTo>
                <a:lnTo>
                  <a:pt x="72" y="110"/>
                </a:lnTo>
                <a:lnTo>
                  <a:pt x="126" y="93"/>
                </a:lnTo>
                <a:lnTo>
                  <a:pt x="193" y="77"/>
                </a:lnTo>
                <a:lnTo>
                  <a:pt x="272" y="61"/>
                </a:lnTo>
                <a:lnTo>
                  <a:pt x="365" y="49"/>
                </a:lnTo>
                <a:lnTo>
                  <a:pt x="465" y="37"/>
                </a:lnTo>
                <a:lnTo>
                  <a:pt x="577" y="26"/>
                </a:lnTo>
                <a:lnTo>
                  <a:pt x="696" y="16"/>
                </a:lnTo>
                <a:lnTo>
                  <a:pt x="824" y="9"/>
                </a:lnTo>
                <a:lnTo>
                  <a:pt x="959" y="4"/>
                </a:lnTo>
                <a:lnTo>
                  <a:pt x="1100"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3">
            <a:extLst>
              <a:ext uri="{FF2B5EF4-FFF2-40B4-BE49-F238E27FC236}">
                <a16:creationId xmlns:a16="http://schemas.microsoft.com/office/drawing/2014/main" id="{0C1E9E94-3187-4E28-A3E8-6D938E1E36FC}"/>
              </a:ext>
            </a:extLst>
          </p:cNvPr>
          <p:cNvSpPr>
            <a:spLocks/>
          </p:cNvSpPr>
          <p:nvPr/>
        </p:nvSpPr>
        <p:spPr bwMode="auto">
          <a:xfrm>
            <a:off x="4619918" y="3340361"/>
            <a:ext cx="2899632" cy="323336"/>
          </a:xfrm>
          <a:custGeom>
            <a:avLst/>
            <a:gdLst/>
            <a:ahLst/>
            <a:cxnLst>
              <a:cxn ang="0">
                <a:pos x="1100" y="0"/>
              </a:cxn>
              <a:cxn ang="0">
                <a:pos x="1389" y="0"/>
              </a:cxn>
              <a:cxn ang="0">
                <a:pos x="1531" y="4"/>
              </a:cxn>
              <a:cxn ang="0">
                <a:pos x="1666" y="9"/>
              </a:cxn>
              <a:cxn ang="0">
                <a:pos x="1794" y="16"/>
              </a:cxn>
              <a:cxn ang="0">
                <a:pos x="1913" y="25"/>
              </a:cxn>
              <a:cxn ang="0">
                <a:pos x="2024" y="35"/>
              </a:cxn>
              <a:cxn ang="0">
                <a:pos x="2127" y="46"/>
              </a:cxn>
              <a:cxn ang="0">
                <a:pos x="2217" y="61"/>
              </a:cxn>
              <a:cxn ang="0">
                <a:pos x="2296" y="75"/>
              </a:cxn>
              <a:cxn ang="0">
                <a:pos x="2364" y="91"/>
              </a:cxn>
              <a:cxn ang="0">
                <a:pos x="2417" y="107"/>
              </a:cxn>
              <a:cxn ang="0">
                <a:pos x="2457" y="126"/>
              </a:cxn>
              <a:cxn ang="0">
                <a:pos x="2480" y="145"/>
              </a:cxn>
              <a:cxn ang="0">
                <a:pos x="2490" y="163"/>
              </a:cxn>
              <a:cxn ang="0">
                <a:pos x="2480" y="182"/>
              </a:cxn>
              <a:cxn ang="0">
                <a:pos x="2457" y="201"/>
              </a:cxn>
              <a:cxn ang="0">
                <a:pos x="2417" y="217"/>
              </a:cxn>
              <a:cxn ang="0">
                <a:pos x="2364" y="233"/>
              </a:cxn>
              <a:cxn ang="0">
                <a:pos x="2296" y="250"/>
              </a:cxn>
              <a:cxn ang="0">
                <a:pos x="2217" y="264"/>
              </a:cxn>
              <a:cxn ang="0">
                <a:pos x="2127" y="278"/>
              </a:cxn>
              <a:cxn ang="0">
                <a:pos x="2024" y="289"/>
              </a:cxn>
              <a:cxn ang="0">
                <a:pos x="1913" y="299"/>
              </a:cxn>
              <a:cxn ang="0">
                <a:pos x="1794" y="308"/>
              </a:cxn>
              <a:cxn ang="0">
                <a:pos x="1666" y="315"/>
              </a:cxn>
              <a:cxn ang="0">
                <a:pos x="1531" y="320"/>
              </a:cxn>
              <a:cxn ang="0">
                <a:pos x="1389" y="324"/>
              </a:cxn>
              <a:cxn ang="0">
                <a:pos x="1100" y="324"/>
              </a:cxn>
              <a:cxn ang="0">
                <a:pos x="959" y="320"/>
              </a:cxn>
              <a:cxn ang="0">
                <a:pos x="824" y="315"/>
              </a:cxn>
              <a:cxn ang="0">
                <a:pos x="696" y="308"/>
              </a:cxn>
              <a:cxn ang="0">
                <a:pos x="577" y="299"/>
              </a:cxn>
              <a:cxn ang="0">
                <a:pos x="465" y="289"/>
              </a:cxn>
              <a:cxn ang="0">
                <a:pos x="365" y="278"/>
              </a:cxn>
              <a:cxn ang="0">
                <a:pos x="272" y="264"/>
              </a:cxn>
              <a:cxn ang="0">
                <a:pos x="193" y="250"/>
              </a:cxn>
              <a:cxn ang="0">
                <a:pos x="126" y="233"/>
              </a:cxn>
              <a:cxn ang="0">
                <a:pos x="72" y="217"/>
              </a:cxn>
              <a:cxn ang="0">
                <a:pos x="33" y="201"/>
              </a:cxn>
              <a:cxn ang="0">
                <a:pos x="9" y="182"/>
              </a:cxn>
              <a:cxn ang="0">
                <a:pos x="0" y="163"/>
              </a:cxn>
              <a:cxn ang="0">
                <a:pos x="9" y="145"/>
              </a:cxn>
              <a:cxn ang="0">
                <a:pos x="33" y="126"/>
              </a:cxn>
              <a:cxn ang="0">
                <a:pos x="72" y="107"/>
              </a:cxn>
              <a:cxn ang="0">
                <a:pos x="126" y="91"/>
              </a:cxn>
              <a:cxn ang="0">
                <a:pos x="193" y="75"/>
              </a:cxn>
              <a:cxn ang="0">
                <a:pos x="272" y="61"/>
              </a:cxn>
              <a:cxn ang="0">
                <a:pos x="365" y="46"/>
              </a:cxn>
              <a:cxn ang="0">
                <a:pos x="465" y="35"/>
              </a:cxn>
              <a:cxn ang="0">
                <a:pos x="577" y="25"/>
              </a:cxn>
              <a:cxn ang="0">
                <a:pos x="696" y="16"/>
              </a:cxn>
              <a:cxn ang="0">
                <a:pos x="824" y="9"/>
              </a:cxn>
              <a:cxn ang="0">
                <a:pos x="959" y="4"/>
              </a:cxn>
              <a:cxn ang="0">
                <a:pos x="1100" y="0"/>
              </a:cxn>
            </a:cxnLst>
            <a:rect l="0" t="0" r="r" b="b"/>
            <a:pathLst>
              <a:path w="2490" h="324">
                <a:moveTo>
                  <a:pt x="1100" y="0"/>
                </a:moveTo>
                <a:lnTo>
                  <a:pt x="1389" y="0"/>
                </a:lnTo>
                <a:lnTo>
                  <a:pt x="1531" y="4"/>
                </a:lnTo>
                <a:lnTo>
                  <a:pt x="1666" y="9"/>
                </a:lnTo>
                <a:lnTo>
                  <a:pt x="1794" y="16"/>
                </a:lnTo>
                <a:lnTo>
                  <a:pt x="1913" y="25"/>
                </a:lnTo>
                <a:lnTo>
                  <a:pt x="2024" y="35"/>
                </a:lnTo>
                <a:lnTo>
                  <a:pt x="2127" y="46"/>
                </a:lnTo>
                <a:lnTo>
                  <a:pt x="2217" y="61"/>
                </a:lnTo>
                <a:lnTo>
                  <a:pt x="2296" y="75"/>
                </a:lnTo>
                <a:lnTo>
                  <a:pt x="2364" y="91"/>
                </a:lnTo>
                <a:lnTo>
                  <a:pt x="2417" y="107"/>
                </a:lnTo>
                <a:lnTo>
                  <a:pt x="2457" y="126"/>
                </a:lnTo>
                <a:lnTo>
                  <a:pt x="2480" y="145"/>
                </a:lnTo>
                <a:lnTo>
                  <a:pt x="2490" y="163"/>
                </a:lnTo>
                <a:lnTo>
                  <a:pt x="2480" y="182"/>
                </a:lnTo>
                <a:lnTo>
                  <a:pt x="2457" y="201"/>
                </a:lnTo>
                <a:lnTo>
                  <a:pt x="2417" y="217"/>
                </a:lnTo>
                <a:lnTo>
                  <a:pt x="2364" y="233"/>
                </a:lnTo>
                <a:lnTo>
                  <a:pt x="2296" y="250"/>
                </a:lnTo>
                <a:lnTo>
                  <a:pt x="2217" y="264"/>
                </a:lnTo>
                <a:lnTo>
                  <a:pt x="2127" y="278"/>
                </a:lnTo>
                <a:lnTo>
                  <a:pt x="2024" y="289"/>
                </a:lnTo>
                <a:lnTo>
                  <a:pt x="1913" y="299"/>
                </a:lnTo>
                <a:lnTo>
                  <a:pt x="1794" y="308"/>
                </a:lnTo>
                <a:lnTo>
                  <a:pt x="1666" y="315"/>
                </a:lnTo>
                <a:lnTo>
                  <a:pt x="1531" y="320"/>
                </a:lnTo>
                <a:lnTo>
                  <a:pt x="1389" y="324"/>
                </a:lnTo>
                <a:lnTo>
                  <a:pt x="1100" y="324"/>
                </a:lnTo>
                <a:lnTo>
                  <a:pt x="959" y="320"/>
                </a:lnTo>
                <a:lnTo>
                  <a:pt x="824" y="315"/>
                </a:lnTo>
                <a:lnTo>
                  <a:pt x="696" y="308"/>
                </a:lnTo>
                <a:lnTo>
                  <a:pt x="577" y="299"/>
                </a:lnTo>
                <a:lnTo>
                  <a:pt x="465" y="289"/>
                </a:lnTo>
                <a:lnTo>
                  <a:pt x="365" y="278"/>
                </a:lnTo>
                <a:lnTo>
                  <a:pt x="272" y="264"/>
                </a:lnTo>
                <a:lnTo>
                  <a:pt x="193" y="250"/>
                </a:lnTo>
                <a:lnTo>
                  <a:pt x="126" y="233"/>
                </a:lnTo>
                <a:lnTo>
                  <a:pt x="72" y="217"/>
                </a:lnTo>
                <a:lnTo>
                  <a:pt x="33" y="201"/>
                </a:lnTo>
                <a:lnTo>
                  <a:pt x="9" y="182"/>
                </a:lnTo>
                <a:lnTo>
                  <a:pt x="0" y="163"/>
                </a:lnTo>
                <a:lnTo>
                  <a:pt x="9" y="145"/>
                </a:lnTo>
                <a:lnTo>
                  <a:pt x="33" y="126"/>
                </a:lnTo>
                <a:lnTo>
                  <a:pt x="72" y="107"/>
                </a:lnTo>
                <a:lnTo>
                  <a:pt x="126" y="91"/>
                </a:lnTo>
                <a:lnTo>
                  <a:pt x="193" y="75"/>
                </a:lnTo>
                <a:lnTo>
                  <a:pt x="272" y="61"/>
                </a:lnTo>
                <a:lnTo>
                  <a:pt x="365" y="46"/>
                </a:lnTo>
                <a:lnTo>
                  <a:pt x="465" y="35"/>
                </a:lnTo>
                <a:lnTo>
                  <a:pt x="577" y="25"/>
                </a:lnTo>
                <a:lnTo>
                  <a:pt x="696" y="16"/>
                </a:lnTo>
                <a:lnTo>
                  <a:pt x="824" y="9"/>
                </a:lnTo>
                <a:lnTo>
                  <a:pt x="959" y="4"/>
                </a:lnTo>
                <a:lnTo>
                  <a:pt x="1100"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4">
            <a:extLst>
              <a:ext uri="{FF2B5EF4-FFF2-40B4-BE49-F238E27FC236}">
                <a16:creationId xmlns:a16="http://schemas.microsoft.com/office/drawing/2014/main" id="{DF8F2D9C-C6D5-420E-A6CA-DABA3F278C41}"/>
              </a:ext>
            </a:extLst>
          </p:cNvPr>
          <p:cNvSpPr>
            <a:spLocks/>
          </p:cNvSpPr>
          <p:nvPr/>
        </p:nvSpPr>
        <p:spPr bwMode="auto">
          <a:xfrm>
            <a:off x="4874946" y="3556916"/>
            <a:ext cx="2389576" cy="575818"/>
          </a:xfrm>
          <a:custGeom>
            <a:avLst/>
            <a:gdLst/>
            <a:ahLst/>
            <a:cxnLst>
              <a:cxn ang="0">
                <a:pos x="898" y="0"/>
              </a:cxn>
              <a:cxn ang="0">
                <a:pos x="1154" y="0"/>
              </a:cxn>
              <a:cxn ang="0">
                <a:pos x="1279" y="5"/>
              </a:cxn>
              <a:cxn ang="0">
                <a:pos x="1398" y="9"/>
              </a:cxn>
              <a:cxn ang="0">
                <a:pos x="1510" y="16"/>
              </a:cxn>
              <a:cxn ang="0">
                <a:pos x="1612" y="23"/>
              </a:cxn>
              <a:cxn ang="0">
                <a:pos x="1707" y="35"/>
              </a:cxn>
              <a:cxn ang="0">
                <a:pos x="1794" y="44"/>
              </a:cxn>
              <a:cxn ang="0">
                <a:pos x="1868" y="58"/>
              </a:cxn>
              <a:cxn ang="0">
                <a:pos x="1931" y="72"/>
              </a:cxn>
              <a:cxn ang="0">
                <a:pos x="1982" y="86"/>
              </a:cxn>
              <a:cxn ang="0">
                <a:pos x="2022" y="103"/>
              </a:cxn>
              <a:cxn ang="0">
                <a:pos x="2045" y="119"/>
              </a:cxn>
              <a:cxn ang="0">
                <a:pos x="2052" y="135"/>
              </a:cxn>
              <a:cxn ang="0">
                <a:pos x="2052" y="577"/>
              </a:cxn>
              <a:cxn ang="0">
                <a:pos x="0" y="577"/>
              </a:cxn>
              <a:cxn ang="0">
                <a:pos x="0" y="135"/>
              </a:cxn>
              <a:cxn ang="0">
                <a:pos x="7" y="119"/>
              </a:cxn>
              <a:cxn ang="0">
                <a:pos x="30" y="103"/>
              </a:cxn>
              <a:cxn ang="0">
                <a:pos x="69" y="86"/>
              </a:cxn>
              <a:cxn ang="0">
                <a:pos x="121" y="72"/>
              </a:cxn>
              <a:cxn ang="0">
                <a:pos x="183" y="58"/>
              </a:cxn>
              <a:cxn ang="0">
                <a:pos x="258" y="44"/>
              </a:cxn>
              <a:cxn ang="0">
                <a:pos x="344" y="35"/>
              </a:cxn>
              <a:cxn ang="0">
                <a:pos x="439" y="23"/>
              </a:cxn>
              <a:cxn ang="0">
                <a:pos x="542" y="16"/>
              </a:cxn>
              <a:cxn ang="0">
                <a:pos x="653" y="9"/>
              </a:cxn>
              <a:cxn ang="0">
                <a:pos x="772" y="5"/>
              </a:cxn>
              <a:cxn ang="0">
                <a:pos x="898" y="0"/>
              </a:cxn>
            </a:cxnLst>
            <a:rect l="0" t="0" r="r" b="b"/>
            <a:pathLst>
              <a:path w="2052" h="577">
                <a:moveTo>
                  <a:pt x="898" y="0"/>
                </a:moveTo>
                <a:lnTo>
                  <a:pt x="1154" y="0"/>
                </a:lnTo>
                <a:lnTo>
                  <a:pt x="1279" y="5"/>
                </a:lnTo>
                <a:lnTo>
                  <a:pt x="1398" y="9"/>
                </a:lnTo>
                <a:lnTo>
                  <a:pt x="1510" y="16"/>
                </a:lnTo>
                <a:lnTo>
                  <a:pt x="1612" y="23"/>
                </a:lnTo>
                <a:lnTo>
                  <a:pt x="1707" y="35"/>
                </a:lnTo>
                <a:lnTo>
                  <a:pt x="1794" y="44"/>
                </a:lnTo>
                <a:lnTo>
                  <a:pt x="1868" y="58"/>
                </a:lnTo>
                <a:lnTo>
                  <a:pt x="1931" y="72"/>
                </a:lnTo>
                <a:lnTo>
                  <a:pt x="1982" y="86"/>
                </a:lnTo>
                <a:lnTo>
                  <a:pt x="2022" y="103"/>
                </a:lnTo>
                <a:lnTo>
                  <a:pt x="2045" y="119"/>
                </a:lnTo>
                <a:lnTo>
                  <a:pt x="2052" y="135"/>
                </a:lnTo>
                <a:lnTo>
                  <a:pt x="2052" y="577"/>
                </a:lnTo>
                <a:lnTo>
                  <a:pt x="0" y="577"/>
                </a:lnTo>
                <a:lnTo>
                  <a:pt x="0" y="135"/>
                </a:lnTo>
                <a:lnTo>
                  <a:pt x="7" y="119"/>
                </a:lnTo>
                <a:lnTo>
                  <a:pt x="30" y="103"/>
                </a:lnTo>
                <a:lnTo>
                  <a:pt x="69" y="86"/>
                </a:lnTo>
                <a:lnTo>
                  <a:pt x="121" y="72"/>
                </a:lnTo>
                <a:lnTo>
                  <a:pt x="183" y="58"/>
                </a:lnTo>
                <a:lnTo>
                  <a:pt x="258" y="44"/>
                </a:lnTo>
                <a:lnTo>
                  <a:pt x="344" y="35"/>
                </a:lnTo>
                <a:lnTo>
                  <a:pt x="439" y="23"/>
                </a:lnTo>
                <a:lnTo>
                  <a:pt x="542" y="16"/>
                </a:lnTo>
                <a:lnTo>
                  <a:pt x="653" y="9"/>
                </a:lnTo>
                <a:lnTo>
                  <a:pt x="772" y="5"/>
                </a:lnTo>
                <a:lnTo>
                  <a:pt x="898" y="0"/>
                </a:lnTo>
                <a:close/>
              </a:path>
            </a:pathLst>
          </a:custGeom>
          <a:solidFill>
            <a:schemeClr val="tx2">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5">
            <a:extLst>
              <a:ext uri="{FF2B5EF4-FFF2-40B4-BE49-F238E27FC236}">
                <a16:creationId xmlns:a16="http://schemas.microsoft.com/office/drawing/2014/main" id="{8B5BE61E-CDDB-4AE1-9944-013194E926A4}"/>
              </a:ext>
            </a:extLst>
          </p:cNvPr>
          <p:cNvSpPr>
            <a:spLocks/>
          </p:cNvSpPr>
          <p:nvPr/>
        </p:nvSpPr>
        <p:spPr bwMode="auto">
          <a:xfrm>
            <a:off x="4874946" y="3997012"/>
            <a:ext cx="2389576" cy="268448"/>
          </a:xfrm>
          <a:custGeom>
            <a:avLst/>
            <a:gdLst/>
            <a:ahLst/>
            <a:cxnLst>
              <a:cxn ang="0">
                <a:pos x="898" y="0"/>
              </a:cxn>
              <a:cxn ang="0">
                <a:pos x="1154" y="0"/>
              </a:cxn>
              <a:cxn ang="0">
                <a:pos x="1279" y="5"/>
              </a:cxn>
              <a:cxn ang="0">
                <a:pos x="1398" y="10"/>
              </a:cxn>
              <a:cxn ang="0">
                <a:pos x="1510" y="17"/>
              </a:cxn>
              <a:cxn ang="0">
                <a:pos x="1612" y="24"/>
              </a:cxn>
              <a:cxn ang="0">
                <a:pos x="1707" y="35"/>
              </a:cxn>
              <a:cxn ang="0">
                <a:pos x="1794" y="45"/>
              </a:cxn>
              <a:cxn ang="0">
                <a:pos x="1868" y="59"/>
              </a:cxn>
              <a:cxn ang="0">
                <a:pos x="1931" y="73"/>
              </a:cxn>
              <a:cxn ang="0">
                <a:pos x="1982" y="87"/>
              </a:cxn>
              <a:cxn ang="0">
                <a:pos x="2022" y="103"/>
              </a:cxn>
              <a:cxn ang="0">
                <a:pos x="2045" y="119"/>
              </a:cxn>
              <a:cxn ang="0">
                <a:pos x="2052" y="136"/>
              </a:cxn>
              <a:cxn ang="0">
                <a:pos x="2045" y="152"/>
              </a:cxn>
              <a:cxn ang="0">
                <a:pos x="2022" y="168"/>
              </a:cxn>
              <a:cxn ang="0">
                <a:pos x="1982" y="182"/>
              </a:cxn>
              <a:cxn ang="0">
                <a:pos x="1931" y="199"/>
              </a:cxn>
              <a:cxn ang="0">
                <a:pos x="1868" y="210"/>
              </a:cxn>
              <a:cxn ang="0">
                <a:pos x="1794" y="224"/>
              </a:cxn>
              <a:cxn ang="0">
                <a:pos x="1707" y="234"/>
              </a:cxn>
              <a:cxn ang="0">
                <a:pos x="1612" y="245"/>
              </a:cxn>
              <a:cxn ang="0">
                <a:pos x="1510" y="252"/>
              </a:cxn>
              <a:cxn ang="0">
                <a:pos x="1398" y="259"/>
              </a:cxn>
              <a:cxn ang="0">
                <a:pos x="1279" y="264"/>
              </a:cxn>
              <a:cxn ang="0">
                <a:pos x="1154" y="269"/>
              </a:cxn>
              <a:cxn ang="0">
                <a:pos x="898" y="269"/>
              </a:cxn>
              <a:cxn ang="0">
                <a:pos x="772" y="264"/>
              </a:cxn>
              <a:cxn ang="0">
                <a:pos x="653" y="259"/>
              </a:cxn>
              <a:cxn ang="0">
                <a:pos x="542" y="252"/>
              </a:cxn>
              <a:cxn ang="0">
                <a:pos x="439" y="245"/>
              </a:cxn>
              <a:cxn ang="0">
                <a:pos x="344" y="234"/>
              </a:cxn>
              <a:cxn ang="0">
                <a:pos x="258" y="224"/>
              </a:cxn>
              <a:cxn ang="0">
                <a:pos x="183" y="210"/>
              </a:cxn>
              <a:cxn ang="0">
                <a:pos x="121" y="199"/>
              </a:cxn>
              <a:cxn ang="0">
                <a:pos x="69" y="182"/>
              </a:cxn>
              <a:cxn ang="0">
                <a:pos x="30" y="168"/>
              </a:cxn>
              <a:cxn ang="0">
                <a:pos x="7" y="152"/>
              </a:cxn>
              <a:cxn ang="0">
                <a:pos x="0" y="136"/>
              </a:cxn>
              <a:cxn ang="0">
                <a:pos x="7" y="119"/>
              </a:cxn>
              <a:cxn ang="0">
                <a:pos x="30" y="103"/>
              </a:cxn>
              <a:cxn ang="0">
                <a:pos x="69" y="87"/>
              </a:cxn>
              <a:cxn ang="0">
                <a:pos x="121" y="73"/>
              </a:cxn>
              <a:cxn ang="0">
                <a:pos x="183" y="59"/>
              </a:cxn>
              <a:cxn ang="0">
                <a:pos x="258" y="45"/>
              </a:cxn>
              <a:cxn ang="0">
                <a:pos x="344" y="35"/>
              </a:cxn>
              <a:cxn ang="0">
                <a:pos x="439" y="24"/>
              </a:cxn>
              <a:cxn ang="0">
                <a:pos x="542" y="17"/>
              </a:cxn>
              <a:cxn ang="0">
                <a:pos x="653" y="10"/>
              </a:cxn>
              <a:cxn ang="0">
                <a:pos x="772" y="5"/>
              </a:cxn>
              <a:cxn ang="0">
                <a:pos x="898" y="0"/>
              </a:cxn>
            </a:cxnLst>
            <a:rect l="0" t="0" r="r" b="b"/>
            <a:pathLst>
              <a:path w="2052" h="269">
                <a:moveTo>
                  <a:pt x="898" y="0"/>
                </a:moveTo>
                <a:lnTo>
                  <a:pt x="1154" y="0"/>
                </a:lnTo>
                <a:lnTo>
                  <a:pt x="1279" y="5"/>
                </a:lnTo>
                <a:lnTo>
                  <a:pt x="1398" y="10"/>
                </a:lnTo>
                <a:lnTo>
                  <a:pt x="1510" y="17"/>
                </a:lnTo>
                <a:lnTo>
                  <a:pt x="1612" y="24"/>
                </a:lnTo>
                <a:lnTo>
                  <a:pt x="1707" y="35"/>
                </a:lnTo>
                <a:lnTo>
                  <a:pt x="1794" y="45"/>
                </a:lnTo>
                <a:lnTo>
                  <a:pt x="1868" y="59"/>
                </a:lnTo>
                <a:lnTo>
                  <a:pt x="1931" y="73"/>
                </a:lnTo>
                <a:lnTo>
                  <a:pt x="1982" y="87"/>
                </a:lnTo>
                <a:lnTo>
                  <a:pt x="2022" y="103"/>
                </a:lnTo>
                <a:lnTo>
                  <a:pt x="2045" y="119"/>
                </a:lnTo>
                <a:lnTo>
                  <a:pt x="2052" y="136"/>
                </a:lnTo>
                <a:lnTo>
                  <a:pt x="2045" y="152"/>
                </a:lnTo>
                <a:lnTo>
                  <a:pt x="2022" y="168"/>
                </a:lnTo>
                <a:lnTo>
                  <a:pt x="1982" y="182"/>
                </a:lnTo>
                <a:lnTo>
                  <a:pt x="1931" y="199"/>
                </a:lnTo>
                <a:lnTo>
                  <a:pt x="1868" y="210"/>
                </a:lnTo>
                <a:lnTo>
                  <a:pt x="1794" y="224"/>
                </a:lnTo>
                <a:lnTo>
                  <a:pt x="1707" y="234"/>
                </a:lnTo>
                <a:lnTo>
                  <a:pt x="1612" y="245"/>
                </a:lnTo>
                <a:lnTo>
                  <a:pt x="1510" y="252"/>
                </a:lnTo>
                <a:lnTo>
                  <a:pt x="1398" y="259"/>
                </a:lnTo>
                <a:lnTo>
                  <a:pt x="1279" y="264"/>
                </a:lnTo>
                <a:lnTo>
                  <a:pt x="1154" y="269"/>
                </a:lnTo>
                <a:lnTo>
                  <a:pt x="898" y="269"/>
                </a:lnTo>
                <a:lnTo>
                  <a:pt x="772" y="264"/>
                </a:lnTo>
                <a:lnTo>
                  <a:pt x="653" y="259"/>
                </a:lnTo>
                <a:lnTo>
                  <a:pt x="542" y="252"/>
                </a:lnTo>
                <a:lnTo>
                  <a:pt x="439" y="245"/>
                </a:lnTo>
                <a:lnTo>
                  <a:pt x="344" y="234"/>
                </a:lnTo>
                <a:lnTo>
                  <a:pt x="258" y="224"/>
                </a:lnTo>
                <a:lnTo>
                  <a:pt x="183" y="210"/>
                </a:lnTo>
                <a:lnTo>
                  <a:pt x="121" y="199"/>
                </a:lnTo>
                <a:lnTo>
                  <a:pt x="69" y="182"/>
                </a:lnTo>
                <a:lnTo>
                  <a:pt x="30" y="168"/>
                </a:lnTo>
                <a:lnTo>
                  <a:pt x="7" y="152"/>
                </a:lnTo>
                <a:lnTo>
                  <a:pt x="0" y="136"/>
                </a:lnTo>
                <a:lnTo>
                  <a:pt x="7" y="119"/>
                </a:lnTo>
                <a:lnTo>
                  <a:pt x="30" y="103"/>
                </a:lnTo>
                <a:lnTo>
                  <a:pt x="69" y="87"/>
                </a:lnTo>
                <a:lnTo>
                  <a:pt x="121" y="73"/>
                </a:lnTo>
                <a:lnTo>
                  <a:pt x="183" y="59"/>
                </a:lnTo>
                <a:lnTo>
                  <a:pt x="258" y="45"/>
                </a:lnTo>
                <a:lnTo>
                  <a:pt x="344" y="35"/>
                </a:lnTo>
                <a:lnTo>
                  <a:pt x="439" y="24"/>
                </a:lnTo>
                <a:lnTo>
                  <a:pt x="542" y="17"/>
                </a:lnTo>
                <a:lnTo>
                  <a:pt x="653" y="10"/>
                </a:lnTo>
                <a:lnTo>
                  <a:pt x="772" y="5"/>
                </a:lnTo>
                <a:lnTo>
                  <a:pt x="898"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6">
            <a:extLst>
              <a:ext uri="{FF2B5EF4-FFF2-40B4-BE49-F238E27FC236}">
                <a16:creationId xmlns:a16="http://schemas.microsoft.com/office/drawing/2014/main" id="{2B937D59-C264-4807-919D-50F2812E1036}"/>
              </a:ext>
            </a:extLst>
          </p:cNvPr>
          <p:cNvSpPr>
            <a:spLocks/>
          </p:cNvSpPr>
          <p:nvPr/>
        </p:nvSpPr>
        <p:spPr bwMode="auto">
          <a:xfrm>
            <a:off x="5091545" y="4178639"/>
            <a:ext cx="1931923" cy="540890"/>
          </a:xfrm>
          <a:custGeom>
            <a:avLst/>
            <a:gdLst/>
            <a:ahLst/>
            <a:cxnLst>
              <a:cxn ang="0">
                <a:pos x="719" y="0"/>
              </a:cxn>
              <a:cxn ang="0">
                <a:pos x="942" y="0"/>
              </a:cxn>
              <a:cxn ang="0">
                <a:pos x="1051" y="5"/>
              </a:cxn>
              <a:cxn ang="0">
                <a:pos x="1154" y="10"/>
              </a:cxn>
              <a:cxn ang="0">
                <a:pos x="1249" y="14"/>
              </a:cxn>
              <a:cxn ang="0">
                <a:pos x="1338" y="24"/>
              </a:cxn>
              <a:cxn ang="0">
                <a:pos x="1417" y="33"/>
              </a:cxn>
              <a:cxn ang="0">
                <a:pos x="1487" y="42"/>
              </a:cxn>
              <a:cxn ang="0">
                <a:pos x="1545" y="54"/>
              </a:cxn>
              <a:cxn ang="0">
                <a:pos x="1594" y="66"/>
              </a:cxn>
              <a:cxn ang="0">
                <a:pos x="1628" y="80"/>
              </a:cxn>
              <a:cxn ang="0">
                <a:pos x="1652" y="94"/>
              </a:cxn>
              <a:cxn ang="0">
                <a:pos x="1659" y="108"/>
              </a:cxn>
              <a:cxn ang="0">
                <a:pos x="1659" y="542"/>
              </a:cxn>
              <a:cxn ang="0">
                <a:pos x="0" y="542"/>
              </a:cxn>
              <a:cxn ang="0">
                <a:pos x="0" y="108"/>
              </a:cxn>
              <a:cxn ang="0">
                <a:pos x="7" y="94"/>
              </a:cxn>
              <a:cxn ang="0">
                <a:pos x="30" y="80"/>
              </a:cxn>
              <a:cxn ang="0">
                <a:pos x="65" y="66"/>
              </a:cxn>
              <a:cxn ang="0">
                <a:pos x="114" y="54"/>
              </a:cxn>
              <a:cxn ang="0">
                <a:pos x="172" y="42"/>
              </a:cxn>
              <a:cxn ang="0">
                <a:pos x="244" y="33"/>
              </a:cxn>
              <a:cxn ang="0">
                <a:pos x="323" y="24"/>
              </a:cxn>
              <a:cxn ang="0">
                <a:pos x="412" y="14"/>
              </a:cxn>
              <a:cxn ang="0">
                <a:pos x="507" y="10"/>
              </a:cxn>
              <a:cxn ang="0">
                <a:pos x="609" y="5"/>
              </a:cxn>
              <a:cxn ang="0">
                <a:pos x="719" y="0"/>
              </a:cxn>
            </a:cxnLst>
            <a:rect l="0" t="0" r="r" b="b"/>
            <a:pathLst>
              <a:path w="1659" h="542">
                <a:moveTo>
                  <a:pt x="719" y="0"/>
                </a:moveTo>
                <a:lnTo>
                  <a:pt x="942" y="0"/>
                </a:lnTo>
                <a:lnTo>
                  <a:pt x="1051" y="5"/>
                </a:lnTo>
                <a:lnTo>
                  <a:pt x="1154" y="10"/>
                </a:lnTo>
                <a:lnTo>
                  <a:pt x="1249" y="14"/>
                </a:lnTo>
                <a:lnTo>
                  <a:pt x="1338" y="24"/>
                </a:lnTo>
                <a:lnTo>
                  <a:pt x="1417" y="33"/>
                </a:lnTo>
                <a:lnTo>
                  <a:pt x="1487" y="42"/>
                </a:lnTo>
                <a:lnTo>
                  <a:pt x="1545" y="54"/>
                </a:lnTo>
                <a:lnTo>
                  <a:pt x="1594" y="66"/>
                </a:lnTo>
                <a:lnTo>
                  <a:pt x="1628" y="80"/>
                </a:lnTo>
                <a:lnTo>
                  <a:pt x="1652" y="94"/>
                </a:lnTo>
                <a:lnTo>
                  <a:pt x="1659" y="108"/>
                </a:lnTo>
                <a:lnTo>
                  <a:pt x="1659" y="542"/>
                </a:lnTo>
                <a:lnTo>
                  <a:pt x="0" y="542"/>
                </a:lnTo>
                <a:lnTo>
                  <a:pt x="0" y="108"/>
                </a:lnTo>
                <a:lnTo>
                  <a:pt x="7" y="94"/>
                </a:lnTo>
                <a:lnTo>
                  <a:pt x="30" y="80"/>
                </a:lnTo>
                <a:lnTo>
                  <a:pt x="65" y="66"/>
                </a:lnTo>
                <a:lnTo>
                  <a:pt x="114" y="54"/>
                </a:lnTo>
                <a:lnTo>
                  <a:pt x="172" y="42"/>
                </a:lnTo>
                <a:lnTo>
                  <a:pt x="244" y="33"/>
                </a:lnTo>
                <a:lnTo>
                  <a:pt x="323" y="24"/>
                </a:lnTo>
                <a:lnTo>
                  <a:pt x="412" y="14"/>
                </a:lnTo>
                <a:lnTo>
                  <a:pt x="507" y="10"/>
                </a:lnTo>
                <a:lnTo>
                  <a:pt x="609" y="5"/>
                </a:lnTo>
                <a:lnTo>
                  <a:pt x="719" y="0"/>
                </a:ln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7">
            <a:extLst>
              <a:ext uri="{FF2B5EF4-FFF2-40B4-BE49-F238E27FC236}">
                <a16:creationId xmlns:a16="http://schemas.microsoft.com/office/drawing/2014/main" id="{481A89CF-0D73-491D-8282-F8F0DCC1BB60}"/>
              </a:ext>
            </a:extLst>
          </p:cNvPr>
          <p:cNvSpPr>
            <a:spLocks/>
          </p:cNvSpPr>
          <p:nvPr/>
        </p:nvSpPr>
        <p:spPr bwMode="auto">
          <a:xfrm>
            <a:off x="5091545" y="4609754"/>
            <a:ext cx="1931923" cy="219550"/>
          </a:xfrm>
          <a:custGeom>
            <a:avLst/>
            <a:gdLst/>
            <a:ahLst/>
            <a:cxnLst>
              <a:cxn ang="0">
                <a:pos x="719" y="0"/>
              </a:cxn>
              <a:cxn ang="0">
                <a:pos x="942" y="0"/>
              </a:cxn>
              <a:cxn ang="0">
                <a:pos x="1051" y="5"/>
              </a:cxn>
              <a:cxn ang="0">
                <a:pos x="1154" y="10"/>
              </a:cxn>
              <a:cxn ang="0">
                <a:pos x="1249" y="14"/>
              </a:cxn>
              <a:cxn ang="0">
                <a:pos x="1338" y="24"/>
              </a:cxn>
              <a:cxn ang="0">
                <a:pos x="1417" y="33"/>
              </a:cxn>
              <a:cxn ang="0">
                <a:pos x="1487" y="42"/>
              </a:cxn>
              <a:cxn ang="0">
                <a:pos x="1545" y="54"/>
              </a:cxn>
              <a:cxn ang="0">
                <a:pos x="1594" y="68"/>
              </a:cxn>
              <a:cxn ang="0">
                <a:pos x="1628" y="80"/>
              </a:cxn>
              <a:cxn ang="0">
                <a:pos x="1652" y="96"/>
              </a:cxn>
              <a:cxn ang="0">
                <a:pos x="1659" y="110"/>
              </a:cxn>
              <a:cxn ang="0">
                <a:pos x="1652" y="124"/>
              </a:cxn>
              <a:cxn ang="0">
                <a:pos x="1628" y="140"/>
              </a:cxn>
              <a:cxn ang="0">
                <a:pos x="1594" y="152"/>
              </a:cxn>
              <a:cxn ang="0">
                <a:pos x="1545" y="166"/>
              </a:cxn>
              <a:cxn ang="0">
                <a:pos x="1487" y="178"/>
              </a:cxn>
              <a:cxn ang="0">
                <a:pos x="1417" y="187"/>
              </a:cxn>
              <a:cxn ang="0">
                <a:pos x="1338" y="196"/>
              </a:cxn>
              <a:cxn ang="0">
                <a:pos x="1249" y="206"/>
              </a:cxn>
              <a:cxn ang="0">
                <a:pos x="1154" y="210"/>
              </a:cxn>
              <a:cxn ang="0">
                <a:pos x="1051" y="215"/>
              </a:cxn>
              <a:cxn ang="0">
                <a:pos x="942" y="220"/>
              </a:cxn>
              <a:cxn ang="0">
                <a:pos x="719" y="220"/>
              </a:cxn>
              <a:cxn ang="0">
                <a:pos x="609" y="215"/>
              </a:cxn>
              <a:cxn ang="0">
                <a:pos x="507" y="210"/>
              </a:cxn>
              <a:cxn ang="0">
                <a:pos x="412" y="206"/>
              </a:cxn>
              <a:cxn ang="0">
                <a:pos x="323" y="196"/>
              </a:cxn>
              <a:cxn ang="0">
                <a:pos x="244" y="187"/>
              </a:cxn>
              <a:cxn ang="0">
                <a:pos x="172" y="178"/>
              </a:cxn>
              <a:cxn ang="0">
                <a:pos x="114" y="166"/>
              </a:cxn>
              <a:cxn ang="0">
                <a:pos x="65" y="152"/>
              </a:cxn>
              <a:cxn ang="0">
                <a:pos x="30" y="140"/>
              </a:cxn>
              <a:cxn ang="0">
                <a:pos x="7" y="124"/>
              </a:cxn>
              <a:cxn ang="0">
                <a:pos x="0" y="110"/>
              </a:cxn>
              <a:cxn ang="0">
                <a:pos x="7" y="96"/>
              </a:cxn>
              <a:cxn ang="0">
                <a:pos x="30" y="80"/>
              </a:cxn>
              <a:cxn ang="0">
                <a:pos x="65" y="68"/>
              </a:cxn>
              <a:cxn ang="0">
                <a:pos x="114" y="54"/>
              </a:cxn>
              <a:cxn ang="0">
                <a:pos x="172" y="42"/>
              </a:cxn>
              <a:cxn ang="0">
                <a:pos x="244" y="33"/>
              </a:cxn>
              <a:cxn ang="0">
                <a:pos x="323" y="24"/>
              </a:cxn>
              <a:cxn ang="0">
                <a:pos x="412" y="14"/>
              </a:cxn>
              <a:cxn ang="0">
                <a:pos x="507" y="10"/>
              </a:cxn>
              <a:cxn ang="0">
                <a:pos x="609" y="5"/>
              </a:cxn>
              <a:cxn ang="0">
                <a:pos x="719" y="0"/>
              </a:cxn>
            </a:cxnLst>
            <a:rect l="0" t="0" r="r" b="b"/>
            <a:pathLst>
              <a:path w="1659" h="220">
                <a:moveTo>
                  <a:pt x="719" y="0"/>
                </a:moveTo>
                <a:lnTo>
                  <a:pt x="942" y="0"/>
                </a:lnTo>
                <a:lnTo>
                  <a:pt x="1051" y="5"/>
                </a:lnTo>
                <a:lnTo>
                  <a:pt x="1154" y="10"/>
                </a:lnTo>
                <a:lnTo>
                  <a:pt x="1249" y="14"/>
                </a:lnTo>
                <a:lnTo>
                  <a:pt x="1338" y="24"/>
                </a:lnTo>
                <a:lnTo>
                  <a:pt x="1417" y="33"/>
                </a:lnTo>
                <a:lnTo>
                  <a:pt x="1487" y="42"/>
                </a:lnTo>
                <a:lnTo>
                  <a:pt x="1545" y="54"/>
                </a:lnTo>
                <a:lnTo>
                  <a:pt x="1594" y="68"/>
                </a:lnTo>
                <a:lnTo>
                  <a:pt x="1628" y="80"/>
                </a:lnTo>
                <a:lnTo>
                  <a:pt x="1652" y="96"/>
                </a:lnTo>
                <a:lnTo>
                  <a:pt x="1659" y="110"/>
                </a:lnTo>
                <a:lnTo>
                  <a:pt x="1652" y="124"/>
                </a:lnTo>
                <a:lnTo>
                  <a:pt x="1628" y="140"/>
                </a:lnTo>
                <a:lnTo>
                  <a:pt x="1594" y="152"/>
                </a:lnTo>
                <a:lnTo>
                  <a:pt x="1545" y="166"/>
                </a:lnTo>
                <a:lnTo>
                  <a:pt x="1487" y="178"/>
                </a:lnTo>
                <a:lnTo>
                  <a:pt x="1417" y="187"/>
                </a:lnTo>
                <a:lnTo>
                  <a:pt x="1338" y="196"/>
                </a:lnTo>
                <a:lnTo>
                  <a:pt x="1249" y="206"/>
                </a:lnTo>
                <a:lnTo>
                  <a:pt x="1154" y="210"/>
                </a:lnTo>
                <a:lnTo>
                  <a:pt x="1051" y="215"/>
                </a:lnTo>
                <a:lnTo>
                  <a:pt x="942" y="220"/>
                </a:lnTo>
                <a:lnTo>
                  <a:pt x="719" y="220"/>
                </a:lnTo>
                <a:lnTo>
                  <a:pt x="609" y="215"/>
                </a:lnTo>
                <a:lnTo>
                  <a:pt x="507" y="210"/>
                </a:lnTo>
                <a:lnTo>
                  <a:pt x="412" y="206"/>
                </a:lnTo>
                <a:lnTo>
                  <a:pt x="323" y="196"/>
                </a:lnTo>
                <a:lnTo>
                  <a:pt x="244" y="187"/>
                </a:lnTo>
                <a:lnTo>
                  <a:pt x="172" y="178"/>
                </a:lnTo>
                <a:lnTo>
                  <a:pt x="114" y="166"/>
                </a:lnTo>
                <a:lnTo>
                  <a:pt x="65" y="152"/>
                </a:lnTo>
                <a:lnTo>
                  <a:pt x="30" y="140"/>
                </a:lnTo>
                <a:lnTo>
                  <a:pt x="7" y="124"/>
                </a:lnTo>
                <a:lnTo>
                  <a:pt x="0" y="110"/>
                </a:lnTo>
                <a:lnTo>
                  <a:pt x="7" y="96"/>
                </a:lnTo>
                <a:lnTo>
                  <a:pt x="30" y="80"/>
                </a:lnTo>
                <a:lnTo>
                  <a:pt x="65" y="68"/>
                </a:lnTo>
                <a:lnTo>
                  <a:pt x="114" y="54"/>
                </a:lnTo>
                <a:lnTo>
                  <a:pt x="172" y="42"/>
                </a:lnTo>
                <a:lnTo>
                  <a:pt x="244" y="33"/>
                </a:lnTo>
                <a:lnTo>
                  <a:pt x="323" y="24"/>
                </a:lnTo>
                <a:lnTo>
                  <a:pt x="412" y="14"/>
                </a:lnTo>
                <a:lnTo>
                  <a:pt x="507" y="10"/>
                </a:lnTo>
                <a:lnTo>
                  <a:pt x="609" y="5"/>
                </a:lnTo>
                <a:lnTo>
                  <a:pt x="719"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8">
            <a:extLst>
              <a:ext uri="{FF2B5EF4-FFF2-40B4-BE49-F238E27FC236}">
                <a16:creationId xmlns:a16="http://schemas.microsoft.com/office/drawing/2014/main" id="{87F524F2-DB0A-497B-A015-6AB8BB50C7DC}"/>
              </a:ext>
            </a:extLst>
          </p:cNvPr>
          <p:cNvSpPr>
            <a:spLocks/>
          </p:cNvSpPr>
          <p:nvPr/>
        </p:nvSpPr>
        <p:spPr bwMode="auto">
          <a:xfrm>
            <a:off x="5326776" y="4791380"/>
            <a:ext cx="1468448" cy="522926"/>
          </a:xfrm>
          <a:custGeom>
            <a:avLst/>
            <a:gdLst/>
            <a:ahLst/>
            <a:cxnLst>
              <a:cxn ang="0">
                <a:pos x="528" y="0"/>
              </a:cxn>
              <a:cxn ang="0">
                <a:pos x="733" y="0"/>
              </a:cxn>
              <a:cxn ang="0">
                <a:pos x="831" y="5"/>
              </a:cxn>
              <a:cxn ang="0">
                <a:pos x="922" y="10"/>
              </a:cxn>
              <a:cxn ang="0">
                <a:pos x="1003" y="17"/>
              </a:cxn>
              <a:cxn ang="0">
                <a:pos x="1077" y="26"/>
              </a:cxn>
              <a:cxn ang="0">
                <a:pos x="1140" y="35"/>
              </a:cxn>
              <a:cxn ang="0">
                <a:pos x="1191" y="45"/>
              </a:cxn>
              <a:cxn ang="0">
                <a:pos x="1229" y="59"/>
              </a:cxn>
              <a:cxn ang="0">
                <a:pos x="1252" y="71"/>
              </a:cxn>
              <a:cxn ang="0">
                <a:pos x="1261" y="85"/>
              </a:cxn>
              <a:cxn ang="0">
                <a:pos x="1261" y="524"/>
              </a:cxn>
              <a:cxn ang="0">
                <a:pos x="0" y="524"/>
              </a:cxn>
              <a:cxn ang="0">
                <a:pos x="0" y="85"/>
              </a:cxn>
              <a:cxn ang="0">
                <a:pos x="10" y="71"/>
              </a:cxn>
              <a:cxn ang="0">
                <a:pos x="33" y="59"/>
              </a:cxn>
              <a:cxn ang="0">
                <a:pos x="70" y="45"/>
              </a:cxn>
              <a:cxn ang="0">
                <a:pos x="121" y="35"/>
              </a:cxn>
              <a:cxn ang="0">
                <a:pos x="186" y="26"/>
              </a:cxn>
              <a:cxn ang="0">
                <a:pos x="258" y="17"/>
              </a:cxn>
              <a:cxn ang="0">
                <a:pos x="342" y="10"/>
              </a:cxn>
              <a:cxn ang="0">
                <a:pos x="433" y="5"/>
              </a:cxn>
              <a:cxn ang="0">
                <a:pos x="528" y="0"/>
              </a:cxn>
            </a:cxnLst>
            <a:rect l="0" t="0" r="r" b="b"/>
            <a:pathLst>
              <a:path w="1261" h="524">
                <a:moveTo>
                  <a:pt x="528" y="0"/>
                </a:moveTo>
                <a:lnTo>
                  <a:pt x="733" y="0"/>
                </a:lnTo>
                <a:lnTo>
                  <a:pt x="831" y="5"/>
                </a:lnTo>
                <a:lnTo>
                  <a:pt x="922" y="10"/>
                </a:lnTo>
                <a:lnTo>
                  <a:pt x="1003" y="17"/>
                </a:lnTo>
                <a:lnTo>
                  <a:pt x="1077" y="26"/>
                </a:lnTo>
                <a:lnTo>
                  <a:pt x="1140" y="35"/>
                </a:lnTo>
                <a:lnTo>
                  <a:pt x="1191" y="45"/>
                </a:lnTo>
                <a:lnTo>
                  <a:pt x="1229" y="59"/>
                </a:lnTo>
                <a:lnTo>
                  <a:pt x="1252" y="71"/>
                </a:lnTo>
                <a:lnTo>
                  <a:pt x="1261" y="85"/>
                </a:lnTo>
                <a:lnTo>
                  <a:pt x="1261" y="524"/>
                </a:lnTo>
                <a:lnTo>
                  <a:pt x="0" y="524"/>
                </a:lnTo>
                <a:lnTo>
                  <a:pt x="0" y="85"/>
                </a:lnTo>
                <a:lnTo>
                  <a:pt x="10" y="71"/>
                </a:lnTo>
                <a:lnTo>
                  <a:pt x="33" y="59"/>
                </a:lnTo>
                <a:lnTo>
                  <a:pt x="70" y="45"/>
                </a:lnTo>
                <a:lnTo>
                  <a:pt x="121" y="35"/>
                </a:lnTo>
                <a:lnTo>
                  <a:pt x="186" y="26"/>
                </a:lnTo>
                <a:lnTo>
                  <a:pt x="258" y="17"/>
                </a:lnTo>
                <a:lnTo>
                  <a:pt x="342" y="10"/>
                </a:lnTo>
                <a:lnTo>
                  <a:pt x="433" y="5"/>
                </a:lnTo>
                <a:lnTo>
                  <a:pt x="528"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2" name="Freeform 29">
            <a:extLst>
              <a:ext uri="{FF2B5EF4-FFF2-40B4-BE49-F238E27FC236}">
                <a16:creationId xmlns:a16="http://schemas.microsoft.com/office/drawing/2014/main" id="{1C7F0B0F-3163-40F7-B092-B169DE5DF34F}"/>
              </a:ext>
            </a:extLst>
          </p:cNvPr>
          <p:cNvSpPr>
            <a:spLocks/>
          </p:cNvSpPr>
          <p:nvPr/>
        </p:nvSpPr>
        <p:spPr bwMode="auto">
          <a:xfrm>
            <a:off x="5326776" y="5229481"/>
            <a:ext cx="1468448" cy="165660"/>
          </a:xfrm>
          <a:custGeom>
            <a:avLst/>
            <a:gdLst/>
            <a:ahLst/>
            <a:cxnLst>
              <a:cxn ang="0">
                <a:pos x="528" y="0"/>
              </a:cxn>
              <a:cxn ang="0">
                <a:pos x="733" y="0"/>
              </a:cxn>
              <a:cxn ang="0">
                <a:pos x="831" y="5"/>
              </a:cxn>
              <a:cxn ang="0">
                <a:pos x="922" y="10"/>
              </a:cxn>
              <a:cxn ang="0">
                <a:pos x="1003" y="17"/>
              </a:cxn>
              <a:cxn ang="0">
                <a:pos x="1077" y="26"/>
              </a:cxn>
              <a:cxn ang="0">
                <a:pos x="1140" y="35"/>
              </a:cxn>
              <a:cxn ang="0">
                <a:pos x="1191" y="45"/>
              </a:cxn>
              <a:cxn ang="0">
                <a:pos x="1229" y="59"/>
              </a:cxn>
              <a:cxn ang="0">
                <a:pos x="1252" y="70"/>
              </a:cxn>
              <a:cxn ang="0">
                <a:pos x="1261" y="85"/>
              </a:cxn>
              <a:cxn ang="0">
                <a:pos x="1252" y="99"/>
              </a:cxn>
              <a:cxn ang="0">
                <a:pos x="1229" y="110"/>
              </a:cxn>
              <a:cxn ang="0">
                <a:pos x="1191" y="122"/>
              </a:cxn>
              <a:cxn ang="0">
                <a:pos x="1140" y="134"/>
              </a:cxn>
              <a:cxn ang="0">
                <a:pos x="1077" y="143"/>
              </a:cxn>
              <a:cxn ang="0">
                <a:pos x="1003" y="150"/>
              </a:cxn>
              <a:cxn ang="0">
                <a:pos x="922" y="157"/>
              </a:cxn>
              <a:cxn ang="0">
                <a:pos x="831" y="162"/>
              </a:cxn>
              <a:cxn ang="0">
                <a:pos x="733" y="166"/>
              </a:cxn>
              <a:cxn ang="0">
                <a:pos x="528" y="166"/>
              </a:cxn>
              <a:cxn ang="0">
                <a:pos x="433" y="162"/>
              </a:cxn>
              <a:cxn ang="0">
                <a:pos x="342" y="157"/>
              </a:cxn>
              <a:cxn ang="0">
                <a:pos x="258" y="150"/>
              </a:cxn>
              <a:cxn ang="0">
                <a:pos x="186" y="143"/>
              </a:cxn>
              <a:cxn ang="0">
                <a:pos x="121" y="134"/>
              </a:cxn>
              <a:cxn ang="0">
                <a:pos x="70" y="122"/>
              </a:cxn>
              <a:cxn ang="0">
                <a:pos x="33" y="110"/>
              </a:cxn>
              <a:cxn ang="0">
                <a:pos x="10" y="99"/>
              </a:cxn>
              <a:cxn ang="0">
                <a:pos x="0" y="85"/>
              </a:cxn>
              <a:cxn ang="0">
                <a:pos x="10" y="70"/>
              </a:cxn>
              <a:cxn ang="0">
                <a:pos x="33" y="59"/>
              </a:cxn>
              <a:cxn ang="0">
                <a:pos x="70" y="45"/>
              </a:cxn>
              <a:cxn ang="0">
                <a:pos x="121" y="35"/>
              </a:cxn>
              <a:cxn ang="0">
                <a:pos x="186" y="26"/>
              </a:cxn>
              <a:cxn ang="0">
                <a:pos x="258" y="17"/>
              </a:cxn>
              <a:cxn ang="0">
                <a:pos x="342" y="10"/>
              </a:cxn>
              <a:cxn ang="0">
                <a:pos x="433" y="5"/>
              </a:cxn>
              <a:cxn ang="0">
                <a:pos x="528" y="0"/>
              </a:cxn>
            </a:cxnLst>
            <a:rect l="0" t="0" r="r" b="b"/>
            <a:pathLst>
              <a:path w="1261" h="166">
                <a:moveTo>
                  <a:pt x="528" y="0"/>
                </a:moveTo>
                <a:lnTo>
                  <a:pt x="733" y="0"/>
                </a:lnTo>
                <a:lnTo>
                  <a:pt x="831" y="5"/>
                </a:lnTo>
                <a:lnTo>
                  <a:pt x="922" y="10"/>
                </a:lnTo>
                <a:lnTo>
                  <a:pt x="1003" y="17"/>
                </a:lnTo>
                <a:lnTo>
                  <a:pt x="1077" y="26"/>
                </a:lnTo>
                <a:lnTo>
                  <a:pt x="1140" y="35"/>
                </a:lnTo>
                <a:lnTo>
                  <a:pt x="1191" y="45"/>
                </a:lnTo>
                <a:lnTo>
                  <a:pt x="1229" y="59"/>
                </a:lnTo>
                <a:lnTo>
                  <a:pt x="1252" y="70"/>
                </a:lnTo>
                <a:lnTo>
                  <a:pt x="1261" y="85"/>
                </a:lnTo>
                <a:lnTo>
                  <a:pt x="1252" y="99"/>
                </a:lnTo>
                <a:lnTo>
                  <a:pt x="1229" y="110"/>
                </a:lnTo>
                <a:lnTo>
                  <a:pt x="1191" y="122"/>
                </a:lnTo>
                <a:lnTo>
                  <a:pt x="1140" y="134"/>
                </a:lnTo>
                <a:lnTo>
                  <a:pt x="1077" y="143"/>
                </a:lnTo>
                <a:lnTo>
                  <a:pt x="1003" y="150"/>
                </a:lnTo>
                <a:lnTo>
                  <a:pt x="922" y="157"/>
                </a:lnTo>
                <a:lnTo>
                  <a:pt x="831" y="162"/>
                </a:lnTo>
                <a:lnTo>
                  <a:pt x="733" y="166"/>
                </a:lnTo>
                <a:lnTo>
                  <a:pt x="528" y="166"/>
                </a:lnTo>
                <a:lnTo>
                  <a:pt x="433" y="162"/>
                </a:lnTo>
                <a:lnTo>
                  <a:pt x="342" y="157"/>
                </a:lnTo>
                <a:lnTo>
                  <a:pt x="258" y="150"/>
                </a:lnTo>
                <a:lnTo>
                  <a:pt x="186" y="143"/>
                </a:lnTo>
                <a:lnTo>
                  <a:pt x="121" y="134"/>
                </a:lnTo>
                <a:lnTo>
                  <a:pt x="70" y="122"/>
                </a:lnTo>
                <a:lnTo>
                  <a:pt x="33" y="110"/>
                </a:lnTo>
                <a:lnTo>
                  <a:pt x="10" y="99"/>
                </a:lnTo>
                <a:lnTo>
                  <a:pt x="0" y="85"/>
                </a:lnTo>
                <a:lnTo>
                  <a:pt x="10" y="70"/>
                </a:lnTo>
                <a:lnTo>
                  <a:pt x="33" y="59"/>
                </a:lnTo>
                <a:lnTo>
                  <a:pt x="70" y="45"/>
                </a:lnTo>
                <a:lnTo>
                  <a:pt x="121" y="35"/>
                </a:lnTo>
                <a:lnTo>
                  <a:pt x="186" y="26"/>
                </a:lnTo>
                <a:lnTo>
                  <a:pt x="258" y="17"/>
                </a:lnTo>
                <a:lnTo>
                  <a:pt x="342" y="10"/>
                </a:lnTo>
                <a:lnTo>
                  <a:pt x="433" y="5"/>
                </a:lnTo>
                <a:lnTo>
                  <a:pt x="528"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TextBox 14">
            <a:extLst>
              <a:ext uri="{FF2B5EF4-FFF2-40B4-BE49-F238E27FC236}">
                <a16:creationId xmlns:a16="http://schemas.microsoft.com/office/drawing/2014/main" id="{3049FC8B-EC07-4FAB-9A2A-E25F30FAD3DB}"/>
              </a:ext>
            </a:extLst>
          </p:cNvPr>
          <p:cNvSpPr txBox="1"/>
          <p:nvPr/>
        </p:nvSpPr>
        <p:spPr>
          <a:xfrm>
            <a:off x="5210589" y="2305262"/>
            <a:ext cx="1717137" cy="307777"/>
          </a:xfrm>
          <a:prstGeom prst="rect">
            <a:avLst/>
          </a:prstGeom>
          <a:noFill/>
          <a:effectLst/>
        </p:spPr>
        <p:txBody>
          <a:bodyPr wrap="none" rtlCol="0">
            <a:spAutoFit/>
          </a:bodyPr>
          <a:lstStyle/>
          <a:p>
            <a:pPr algn="ctr"/>
            <a:r>
              <a:rPr lang="en-US" sz="1400" dirty="0">
                <a:solidFill>
                  <a:schemeClr val="bg1"/>
                </a:solidFill>
                <a:cs typeface="Arial" pitchFamily="34" charset="0"/>
              </a:rPr>
              <a:t>Strategic alignment</a:t>
            </a:r>
          </a:p>
        </p:txBody>
      </p:sp>
      <p:sp>
        <p:nvSpPr>
          <p:cNvPr id="55" name="TextBox 54">
            <a:extLst>
              <a:ext uri="{FF2B5EF4-FFF2-40B4-BE49-F238E27FC236}">
                <a16:creationId xmlns:a16="http://schemas.microsoft.com/office/drawing/2014/main" id="{B6BBF957-02CB-4753-8A2A-72CFCA193CD0}"/>
              </a:ext>
            </a:extLst>
          </p:cNvPr>
          <p:cNvSpPr txBox="1"/>
          <p:nvPr/>
        </p:nvSpPr>
        <p:spPr>
          <a:xfrm>
            <a:off x="5618554" y="2977657"/>
            <a:ext cx="901208" cy="307777"/>
          </a:xfrm>
          <a:prstGeom prst="rect">
            <a:avLst/>
          </a:prstGeom>
          <a:noFill/>
          <a:effectLst/>
        </p:spPr>
        <p:txBody>
          <a:bodyPr wrap="none" rtlCol="0">
            <a:spAutoFit/>
          </a:bodyPr>
          <a:lstStyle/>
          <a:p>
            <a:pPr algn="ctr"/>
            <a:r>
              <a:rPr lang="en-US" sz="1400" dirty="0">
                <a:solidFill>
                  <a:schemeClr val="bg1"/>
                </a:solidFill>
                <a:cs typeface="Arial" pitchFamily="34" charset="0"/>
              </a:rPr>
              <a:t>Revenue</a:t>
            </a:r>
          </a:p>
        </p:txBody>
      </p:sp>
      <p:sp>
        <p:nvSpPr>
          <p:cNvPr id="56" name="TextBox 55">
            <a:extLst>
              <a:ext uri="{FF2B5EF4-FFF2-40B4-BE49-F238E27FC236}">
                <a16:creationId xmlns:a16="http://schemas.microsoft.com/office/drawing/2014/main" id="{021B3EC8-FEE0-4DE5-A9ED-9B096D09C664}"/>
              </a:ext>
            </a:extLst>
          </p:cNvPr>
          <p:cNvSpPr txBox="1"/>
          <p:nvPr/>
        </p:nvSpPr>
        <p:spPr>
          <a:xfrm>
            <a:off x="5703510" y="3647436"/>
            <a:ext cx="731289" cy="307777"/>
          </a:xfrm>
          <a:prstGeom prst="rect">
            <a:avLst/>
          </a:prstGeom>
          <a:noFill/>
          <a:effectLst/>
        </p:spPr>
        <p:txBody>
          <a:bodyPr wrap="none" rtlCol="0">
            <a:spAutoFit/>
          </a:bodyPr>
          <a:lstStyle/>
          <a:p>
            <a:pPr algn="ctr"/>
            <a:r>
              <a:rPr lang="en-US" sz="1400" dirty="0">
                <a:solidFill>
                  <a:schemeClr val="bg1"/>
                </a:solidFill>
                <a:cs typeface="Arial" pitchFamily="34" charset="0"/>
              </a:rPr>
              <a:t>Market</a:t>
            </a:r>
          </a:p>
        </p:txBody>
      </p:sp>
      <p:sp>
        <p:nvSpPr>
          <p:cNvPr id="57" name="TextBox 56">
            <a:extLst>
              <a:ext uri="{FF2B5EF4-FFF2-40B4-BE49-F238E27FC236}">
                <a16:creationId xmlns:a16="http://schemas.microsoft.com/office/drawing/2014/main" id="{60A302CD-8BA3-4164-A028-36B7D833D215}"/>
              </a:ext>
            </a:extLst>
          </p:cNvPr>
          <p:cNvSpPr txBox="1"/>
          <p:nvPr/>
        </p:nvSpPr>
        <p:spPr>
          <a:xfrm>
            <a:off x="5538402" y="4262271"/>
            <a:ext cx="1061509" cy="307777"/>
          </a:xfrm>
          <a:prstGeom prst="rect">
            <a:avLst/>
          </a:prstGeom>
          <a:noFill/>
          <a:effectLst/>
        </p:spPr>
        <p:txBody>
          <a:bodyPr wrap="none" rtlCol="0">
            <a:spAutoFit/>
          </a:bodyPr>
          <a:lstStyle/>
          <a:p>
            <a:pPr algn="ctr"/>
            <a:r>
              <a:rPr lang="en-US" sz="1400" dirty="0">
                <a:solidFill>
                  <a:schemeClr val="bg1"/>
                </a:solidFill>
                <a:cs typeface="Arial" pitchFamily="34" charset="0"/>
              </a:rPr>
              <a:t>Positioning</a:t>
            </a:r>
          </a:p>
        </p:txBody>
      </p:sp>
      <p:sp>
        <p:nvSpPr>
          <p:cNvPr id="58" name="TextBox 57">
            <a:extLst>
              <a:ext uri="{FF2B5EF4-FFF2-40B4-BE49-F238E27FC236}">
                <a16:creationId xmlns:a16="http://schemas.microsoft.com/office/drawing/2014/main" id="{39B1B9DF-818B-4061-B61E-D8FD2EB8FCA5}"/>
              </a:ext>
            </a:extLst>
          </p:cNvPr>
          <p:cNvSpPr txBox="1"/>
          <p:nvPr/>
        </p:nvSpPr>
        <p:spPr>
          <a:xfrm>
            <a:off x="5478950" y="4884956"/>
            <a:ext cx="1180407" cy="266301"/>
          </a:xfrm>
          <a:prstGeom prst="rect">
            <a:avLst/>
          </a:prstGeom>
          <a:no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stStyle>
          <a:p>
            <a:pPr algn="ctr"/>
            <a:r>
              <a:rPr lang="en-US" sz="1400" dirty="0">
                <a:solidFill>
                  <a:schemeClr val="bg1"/>
                </a:solidFill>
                <a:cs typeface="Arial" pitchFamily="34" charset="0"/>
              </a:rPr>
              <a:t>Risk</a:t>
            </a:r>
          </a:p>
        </p:txBody>
      </p:sp>
      <p:sp>
        <p:nvSpPr>
          <p:cNvPr id="59" name="TextBox 58">
            <a:extLst>
              <a:ext uri="{FF2B5EF4-FFF2-40B4-BE49-F238E27FC236}">
                <a16:creationId xmlns:a16="http://schemas.microsoft.com/office/drawing/2014/main" id="{47D07FE2-2696-4C97-8F35-2CE77D3847CA}"/>
              </a:ext>
            </a:extLst>
          </p:cNvPr>
          <p:cNvSpPr txBox="1"/>
          <p:nvPr/>
        </p:nvSpPr>
        <p:spPr>
          <a:xfrm>
            <a:off x="8282225" y="2283152"/>
            <a:ext cx="3642169" cy="633012"/>
          </a:xfrm>
          <a:prstGeom prst="rect">
            <a:avLst/>
          </a:prstGeom>
          <a:noFill/>
        </p:spPr>
        <p:txBody>
          <a:bodyPr wrap="square" rtlCol="0">
            <a:spAutoFit/>
          </a:bodyPr>
          <a:lstStyle/>
          <a:p>
            <a:r>
              <a:rPr lang="en-US" sz="1400" b="1" kern="0" dirty="0">
                <a:cs typeface="Arial" pitchFamily="34" charset="0"/>
              </a:rPr>
              <a:t>The acquisition of the target company needs to help us reach at least one of our M&amp;A strategic objectives</a:t>
            </a:r>
            <a:endParaRPr lang="en-US" sz="1400" b="1" dirty="0"/>
          </a:p>
        </p:txBody>
      </p:sp>
      <p:sp>
        <p:nvSpPr>
          <p:cNvPr id="60" name="TextBox 59">
            <a:extLst>
              <a:ext uri="{FF2B5EF4-FFF2-40B4-BE49-F238E27FC236}">
                <a16:creationId xmlns:a16="http://schemas.microsoft.com/office/drawing/2014/main" id="{EC994E38-37BF-4241-ADAB-2AE4B667994E}"/>
              </a:ext>
            </a:extLst>
          </p:cNvPr>
          <p:cNvSpPr txBox="1"/>
          <p:nvPr/>
        </p:nvSpPr>
        <p:spPr>
          <a:xfrm>
            <a:off x="8282225" y="3663086"/>
            <a:ext cx="3304937" cy="448383"/>
          </a:xfrm>
          <a:prstGeom prst="rect">
            <a:avLst/>
          </a:prstGeom>
          <a:noFill/>
        </p:spPr>
        <p:txBody>
          <a:bodyPr wrap="square" rtlCol="0">
            <a:spAutoFit/>
          </a:bodyPr>
          <a:lstStyle/>
          <a:p>
            <a:r>
              <a:rPr lang="en-US" sz="1400" b="1" kern="0" dirty="0">
                <a:cs typeface="Arial" pitchFamily="34" charset="0"/>
              </a:rPr>
              <a:t>The target company needs to sell its products mainly in the Asian market</a:t>
            </a:r>
            <a:endParaRPr lang="en-US" sz="1400" b="1" dirty="0"/>
          </a:p>
        </p:txBody>
      </p:sp>
      <p:sp>
        <p:nvSpPr>
          <p:cNvPr id="61" name="TextBox 60">
            <a:extLst>
              <a:ext uri="{FF2B5EF4-FFF2-40B4-BE49-F238E27FC236}">
                <a16:creationId xmlns:a16="http://schemas.microsoft.com/office/drawing/2014/main" id="{63F7EB39-9B80-4769-B09D-ECBBC2A6CE88}"/>
              </a:ext>
            </a:extLst>
          </p:cNvPr>
          <p:cNvSpPr txBox="1"/>
          <p:nvPr/>
        </p:nvSpPr>
        <p:spPr>
          <a:xfrm>
            <a:off x="8282226" y="4816444"/>
            <a:ext cx="3304936" cy="633012"/>
          </a:xfrm>
          <a:prstGeom prst="rect">
            <a:avLst/>
          </a:prstGeom>
          <a:noFill/>
        </p:spPr>
        <p:txBody>
          <a:bodyPr wrap="square" rtlCol="0">
            <a:spAutoFit/>
          </a:bodyPr>
          <a:lstStyle/>
          <a:p>
            <a:r>
              <a:rPr lang="en-GB" sz="1400" b="1" kern="0" dirty="0">
                <a:cs typeface="Arial" pitchFamily="34" charset="0"/>
              </a:rPr>
              <a:t>Acceptable impact on the Group’s financial and non-financial risk profile</a:t>
            </a:r>
            <a:endParaRPr lang="en-US" sz="1400" b="1" dirty="0"/>
          </a:p>
        </p:txBody>
      </p:sp>
      <p:sp>
        <p:nvSpPr>
          <p:cNvPr id="62" name="TextBox 61">
            <a:extLst>
              <a:ext uri="{FF2B5EF4-FFF2-40B4-BE49-F238E27FC236}">
                <a16:creationId xmlns:a16="http://schemas.microsoft.com/office/drawing/2014/main" id="{066FFD46-14D4-43F4-A930-149DC8CEE749}"/>
              </a:ext>
            </a:extLst>
          </p:cNvPr>
          <p:cNvSpPr txBox="1"/>
          <p:nvPr/>
        </p:nvSpPr>
        <p:spPr>
          <a:xfrm>
            <a:off x="1010142" y="2953040"/>
            <a:ext cx="2899632" cy="448383"/>
          </a:xfrm>
          <a:prstGeom prst="rect">
            <a:avLst/>
          </a:prstGeom>
          <a:noFill/>
        </p:spPr>
        <p:txBody>
          <a:bodyPr wrap="square" rtlCol="0">
            <a:spAutoFit/>
          </a:bodyPr>
          <a:lstStyle/>
          <a:p>
            <a:r>
              <a:rPr lang="en-US" sz="1400" b="1" kern="0" dirty="0">
                <a:cs typeface="Arial" pitchFamily="34" charset="0"/>
              </a:rPr>
              <a:t>The target company needs to have a revenue above $10M</a:t>
            </a:r>
            <a:endParaRPr lang="en-US" sz="1400" b="1" dirty="0"/>
          </a:p>
        </p:txBody>
      </p:sp>
      <p:sp>
        <p:nvSpPr>
          <p:cNvPr id="63" name="TextBox 62">
            <a:extLst>
              <a:ext uri="{FF2B5EF4-FFF2-40B4-BE49-F238E27FC236}">
                <a16:creationId xmlns:a16="http://schemas.microsoft.com/office/drawing/2014/main" id="{61087AA6-5327-4B82-993E-69A1259B9DAB}"/>
              </a:ext>
            </a:extLst>
          </p:cNvPr>
          <p:cNvSpPr txBox="1"/>
          <p:nvPr/>
        </p:nvSpPr>
        <p:spPr>
          <a:xfrm>
            <a:off x="720436" y="4255226"/>
            <a:ext cx="3189338" cy="633012"/>
          </a:xfrm>
          <a:prstGeom prst="rect">
            <a:avLst/>
          </a:prstGeom>
          <a:noFill/>
        </p:spPr>
        <p:txBody>
          <a:bodyPr wrap="square" rtlCol="0">
            <a:spAutoFit/>
          </a:bodyPr>
          <a:lstStyle/>
          <a:p>
            <a:r>
              <a:rPr lang="en-US" sz="1400" b="1" kern="0" dirty="0">
                <a:cs typeface="Arial" pitchFamily="34" charset="0"/>
              </a:rPr>
              <a:t>The target company needs to have a premium positioning and good reputation</a:t>
            </a:r>
            <a:endParaRPr lang="en-US" sz="1400" b="1" dirty="0"/>
          </a:p>
        </p:txBody>
      </p:sp>
      <p:pic>
        <p:nvPicPr>
          <p:cNvPr id="4" name="Graphic 3" descr="Building with solid fill">
            <a:extLst>
              <a:ext uri="{FF2B5EF4-FFF2-40B4-BE49-F238E27FC236}">
                <a16:creationId xmlns:a16="http://schemas.microsoft.com/office/drawing/2014/main" id="{325EE201-69AA-4933-ABAD-008FDAA5E48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49088" y="1684562"/>
            <a:ext cx="506818" cy="506818"/>
          </a:xfrm>
          <a:prstGeom prst="rect">
            <a:avLst/>
          </a:prstGeom>
        </p:spPr>
      </p:pic>
      <p:pic>
        <p:nvPicPr>
          <p:cNvPr id="76" name="Graphic 75" descr="Building with solid fill">
            <a:extLst>
              <a:ext uri="{FF2B5EF4-FFF2-40B4-BE49-F238E27FC236}">
                <a16:creationId xmlns:a16="http://schemas.microsoft.com/office/drawing/2014/main" id="{3C03AECA-1AE2-4B66-A3F4-995A498468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26017" y="1684562"/>
            <a:ext cx="506818" cy="506818"/>
          </a:xfrm>
          <a:prstGeom prst="rect">
            <a:avLst/>
          </a:prstGeom>
        </p:spPr>
      </p:pic>
      <p:pic>
        <p:nvPicPr>
          <p:cNvPr id="77" name="Graphic 76" descr="Building with solid fill">
            <a:extLst>
              <a:ext uri="{FF2B5EF4-FFF2-40B4-BE49-F238E27FC236}">
                <a16:creationId xmlns:a16="http://schemas.microsoft.com/office/drawing/2014/main" id="{80E979AA-A232-40A3-91CB-4976D10203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02946" y="1684562"/>
            <a:ext cx="506818" cy="506818"/>
          </a:xfrm>
          <a:prstGeom prst="rect">
            <a:avLst/>
          </a:prstGeom>
        </p:spPr>
      </p:pic>
      <p:pic>
        <p:nvPicPr>
          <p:cNvPr id="78" name="Graphic 77" descr="Building with solid fill">
            <a:extLst>
              <a:ext uri="{FF2B5EF4-FFF2-40B4-BE49-F238E27FC236}">
                <a16:creationId xmlns:a16="http://schemas.microsoft.com/office/drawing/2014/main" id="{1D31D3E2-EED1-4C85-A884-A816E69943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79875" y="1684562"/>
            <a:ext cx="506818" cy="506818"/>
          </a:xfrm>
          <a:prstGeom prst="rect">
            <a:avLst/>
          </a:prstGeom>
        </p:spPr>
      </p:pic>
      <p:pic>
        <p:nvPicPr>
          <p:cNvPr id="79" name="Graphic 78" descr="Building with solid fill">
            <a:extLst>
              <a:ext uri="{FF2B5EF4-FFF2-40B4-BE49-F238E27FC236}">
                <a16:creationId xmlns:a16="http://schemas.microsoft.com/office/drawing/2014/main" id="{3FC4BA47-6FF7-44DE-8366-543F245633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56804" y="1684562"/>
            <a:ext cx="506818" cy="506818"/>
          </a:xfrm>
          <a:prstGeom prst="rect">
            <a:avLst/>
          </a:prstGeom>
        </p:spPr>
      </p:pic>
      <p:pic>
        <p:nvPicPr>
          <p:cNvPr id="80" name="Graphic 79" descr="Building with solid fill">
            <a:extLst>
              <a:ext uri="{FF2B5EF4-FFF2-40B4-BE49-F238E27FC236}">
                <a16:creationId xmlns:a16="http://schemas.microsoft.com/office/drawing/2014/main" id="{79D1351A-400A-4388-9C79-3E504F8E79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33733" y="1684562"/>
            <a:ext cx="506818" cy="506818"/>
          </a:xfrm>
          <a:prstGeom prst="rect">
            <a:avLst/>
          </a:prstGeom>
        </p:spPr>
      </p:pic>
      <p:pic>
        <p:nvPicPr>
          <p:cNvPr id="81" name="Graphic 80" descr="Building with solid fill">
            <a:extLst>
              <a:ext uri="{FF2B5EF4-FFF2-40B4-BE49-F238E27FC236}">
                <a16:creationId xmlns:a16="http://schemas.microsoft.com/office/drawing/2014/main" id="{8C0429A2-B28E-4B6D-B2D7-7E3FEF861E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10662" y="1684562"/>
            <a:ext cx="506818" cy="506818"/>
          </a:xfrm>
          <a:prstGeom prst="rect">
            <a:avLst/>
          </a:prstGeom>
        </p:spPr>
      </p:pic>
      <p:pic>
        <p:nvPicPr>
          <p:cNvPr id="82" name="Graphic 81" descr="Building with solid fill">
            <a:extLst>
              <a:ext uri="{FF2B5EF4-FFF2-40B4-BE49-F238E27FC236}">
                <a16:creationId xmlns:a16="http://schemas.microsoft.com/office/drawing/2014/main" id="{CADC6DDD-A32A-4D63-8A1D-9883C95AE6C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87591" y="1684562"/>
            <a:ext cx="506818" cy="506818"/>
          </a:xfrm>
          <a:prstGeom prst="rect">
            <a:avLst/>
          </a:prstGeom>
        </p:spPr>
      </p:pic>
      <p:pic>
        <p:nvPicPr>
          <p:cNvPr id="83" name="Graphic 82" descr="Building with solid fill">
            <a:extLst>
              <a:ext uri="{FF2B5EF4-FFF2-40B4-BE49-F238E27FC236}">
                <a16:creationId xmlns:a16="http://schemas.microsoft.com/office/drawing/2014/main" id="{78F446D5-4B6B-4F0F-9E6D-12EB69C50F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64522" y="1684562"/>
            <a:ext cx="506818" cy="506818"/>
          </a:xfrm>
          <a:prstGeom prst="rect">
            <a:avLst/>
          </a:prstGeom>
        </p:spPr>
      </p:pic>
      <p:pic>
        <p:nvPicPr>
          <p:cNvPr id="84" name="Graphic 83" descr="Building with solid fill">
            <a:extLst>
              <a:ext uri="{FF2B5EF4-FFF2-40B4-BE49-F238E27FC236}">
                <a16:creationId xmlns:a16="http://schemas.microsoft.com/office/drawing/2014/main" id="{1D3A5DB3-E4B9-4A48-B4DA-F6C47A69D7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35291" y="6016082"/>
            <a:ext cx="506818" cy="506818"/>
          </a:xfrm>
          <a:prstGeom prst="rect">
            <a:avLst/>
          </a:prstGeom>
        </p:spPr>
      </p:pic>
      <p:pic>
        <p:nvPicPr>
          <p:cNvPr id="85" name="Graphic 84" descr="Building with solid fill">
            <a:extLst>
              <a:ext uri="{FF2B5EF4-FFF2-40B4-BE49-F238E27FC236}">
                <a16:creationId xmlns:a16="http://schemas.microsoft.com/office/drawing/2014/main" id="{54E201D2-79A7-4295-8250-B0552A5EF6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12220" y="6016082"/>
            <a:ext cx="506818" cy="506818"/>
          </a:xfrm>
          <a:prstGeom prst="rect">
            <a:avLst/>
          </a:prstGeom>
        </p:spPr>
      </p:pic>
      <p:pic>
        <p:nvPicPr>
          <p:cNvPr id="86" name="Graphic 85" descr="Building with solid fill">
            <a:extLst>
              <a:ext uri="{FF2B5EF4-FFF2-40B4-BE49-F238E27FC236}">
                <a16:creationId xmlns:a16="http://schemas.microsoft.com/office/drawing/2014/main" id="{CA97928E-E0C0-4670-A968-93218FEA53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89149" y="6016082"/>
            <a:ext cx="506818" cy="506818"/>
          </a:xfrm>
          <a:prstGeom prst="rect">
            <a:avLst/>
          </a:prstGeom>
        </p:spPr>
      </p:pic>
      <p:sp>
        <p:nvSpPr>
          <p:cNvPr id="87" name="Speech Bubble: Rectangle with Corners Rounded 86">
            <a:extLst>
              <a:ext uri="{FF2B5EF4-FFF2-40B4-BE49-F238E27FC236}">
                <a16:creationId xmlns:a16="http://schemas.microsoft.com/office/drawing/2014/main" id="{97A9D4FC-0843-4477-A7B4-85DA8107A3A5}"/>
              </a:ext>
            </a:extLst>
          </p:cNvPr>
          <p:cNvSpPr/>
          <p:nvPr/>
        </p:nvSpPr>
        <p:spPr bwMode="auto">
          <a:xfrm>
            <a:off x="8621062" y="1302970"/>
            <a:ext cx="3207917" cy="918687"/>
          </a:xfrm>
          <a:prstGeom prst="wedgeRoundRectCallout">
            <a:avLst>
              <a:gd name="adj1" fmla="val -44680"/>
              <a:gd name="adj2" fmla="val 6348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is an example of organigram with 6 criteria</a:t>
            </a:r>
            <a:endParaRPr lang="en-US" sz="1200" b="1" dirty="0">
              <a:solidFill>
                <a:srgbClr val="0C2870"/>
              </a:solidFill>
              <a:latin typeface="Arial" charset="0"/>
              <a:cs typeface="Times New Roman" pitchFamily="18" charset="0"/>
            </a:endParaRPr>
          </a:p>
        </p:txBody>
      </p:sp>
      <p:grpSp>
        <p:nvGrpSpPr>
          <p:cNvPr id="5" name="Group 4">
            <a:extLst>
              <a:ext uri="{FF2B5EF4-FFF2-40B4-BE49-F238E27FC236}">
                <a16:creationId xmlns:a16="http://schemas.microsoft.com/office/drawing/2014/main" id="{0915063D-D799-4813-ABDF-39CBB1133D96}"/>
              </a:ext>
            </a:extLst>
          </p:cNvPr>
          <p:cNvGrpSpPr/>
          <p:nvPr/>
        </p:nvGrpSpPr>
        <p:grpSpPr>
          <a:xfrm>
            <a:off x="5419136" y="5373001"/>
            <a:ext cx="1296381" cy="603761"/>
            <a:chOff x="5326776" y="5446889"/>
            <a:chExt cx="1468448" cy="603761"/>
          </a:xfrm>
        </p:grpSpPr>
        <p:sp>
          <p:nvSpPr>
            <p:cNvPr id="66" name="Freeform 28">
              <a:extLst>
                <a:ext uri="{FF2B5EF4-FFF2-40B4-BE49-F238E27FC236}">
                  <a16:creationId xmlns:a16="http://schemas.microsoft.com/office/drawing/2014/main" id="{BD18A0BB-9EB6-47DF-8341-29543FC2A73D}"/>
                </a:ext>
              </a:extLst>
            </p:cNvPr>
            <p:cNvSpPr>
              <a:spLocks/>
            </p:cNvSpPr>
            <p:nvPr/>
          </p:nvSpPr>
          <p:spPr bwMode="auto">
            <a:xfrm>
              <a:off x="5326776" y="5446889"/>
              <a:ext cx="1468448" cy="522926"/>
            </a:xfrm>
            <a:custGeom>
              <a:avLst/>
              <a:gdLst/>
              <a:ahLst/>
              <a:cxnLst>
                <a:cxn ang="0">
                  <a:pos x="528" y="0"/>
                </a:cxn>
                <a:cxn ang="0">
                  <a:pos x="733" y="0"/>
                </a:cxn>
                <a:cxn ang="0">
                  <a:pos x="831" y="5"/>
                </a:cxn>
                <a:cxn ang="0">
                  <a:pos x="922" y="10"/>
                </a:cxn>
                <a:cxn ang="0">
                  <a:pos x="1003" y="17"/>
                </a:cxn>
                <a:cxn ang="0">
                  <a:pos x="1077" y="26"/>
                </a:cxn>
                <a:cxn ang="0">
                  <a:pos x="1140" y="35"/>
                </a:cxn>
                <a:cxn ang="0">
                  <a:pos x="1191" y="45"/>
                </a:cxn>
                <a:cxn ang="0">
                  <a:pos x="1229" y="59"/>
                </a:cxn>
                <a:cxn ang="0">
                  <a:pos x="1252" y="71"/>
                </a:cxn>
                <a:cxn ang="0">
                  <a:pos x="1261" y="85"/>
                </a:cxn>
                <a:cxn ang="0">
                  <a:pos x="1261" y="524"/>
                </a:cxn>
                <a:cxn ang="0">
                  <a:pos x="0" y="524"/>
                </a:cxn>
                <a:cxn ang="0">
                  <a:pos x="0" y="85"/>
                </a:cxn>
                <a:cxn ang="0">
                  <a:pos x="10" y="71"/>
                </a:cxn>
                <a:cxn ang="0">
                  <a:pos x="33" y="59"/>
                </a:cxn>
                <a:cxn ang="0">
                  <a:pos x="70" y="45"/>
                </a:cxn>
                <a:cxn ang="0">
                  <a:pos x="121" y="35"/>
                </a:cxn>
                <a:cxn ang="0">
                  <a:pos x="186" y="26"/>
                </a:cxn>
                <a:cxn ang="0">
                  <a:pos x="258" y="17"/>
                </a:cxn>
                <a:cxn ang="0">
                  <a:pos x="342" y="10"/>
                </a:cxn>
                <a:cxn ang="0">
                  <a:pos x="433" y="5"/>
                </a:cxn>
                <a:cxn ang="0">
                  <a:pos x="528" y="0"/>
                </a:cxn>
              </a:cxnLst>
              <a:rect l="0" t="0" r="r" b="b"/>
              <a:pathLst>
                <a:path w="1261" h="524">
                  <a:moveTo>
                    <a:pt x="528" y="0"/>
                  </a:moveTo>
                  <a:lnTo>
                    <a:pt x="733" y="0"/>
                  </a:lnTo>
                  <a:lnTo>
                    <a:pt x="831" y="5"/>
                  </a:lnTo>
                  <a:lnTo>
                    <a:pt x="922" y="10"/>
                  </a:lnTo>
                  <a:lnTo>
                    <a:pt x="1003" y="17"/>
                  </a:lnTo>
                  <a:lnTo>
                    <a:pt x="1077" y="26"/>
                  </a:lnTo>
                  <a:lnTo>
                    <a:pt x="1140" y="35"/>
                  </a:lnTo>
                  <a:lnTo>
                    <a:pt x="1191" y="45"/>
                  </a:lnTo>
                  <a:lnTo>
                    <a:pt x="1229" y="59"/>
                  </a:lnTo>
                  <a:lnTo>
                    <a:pt x="1252" y="71"/>
                  </a:lnTo>
                  <a:lnTo>
                    <a:pt x="1261" y="85"/>
                  </a:lnTo>
                  <a:lnTo>
                    <a:pt x="1261" y="524"/>
                  </a:lnTo>
                  <a:lnTo>
                    <a:pt x="0" y="524"/>
                  </a:lnTo>
                  <a:lnTo>
                    <a:pt x="0" y="85"/>
                  </a:lnTo>
                  <a:lnTo>
                    <a:pt x="10" y="71"/>
                  </a:lnTo>
                  <a:lnTo>
                    <a:pt x="33" y="59"/>
                  </a:lnTo>
                  <a:lnTo>
                    <a:pt x="70" y="45"/>
                  </a:lnTo>
                  <a:lnTo>
                    <a:pt x="121" y="35"/>
                  </a:lnTo>
                  <a:lnTo>
                    <a:pt x="186" y="26"/>
                  </a:lnTo>
                  <a:lnTo>
                    <a:pt x="258" y="17"/>
                  </a:lnTo>
                  <a:lnTo>
                    <a:pt x="342" y="10"/>
                  </a:lnTo>
                  <a:lnTo>
                    <a:pt x="433" y="5"/>
                  </a:lnTo>
                  <a:lnTo>
                    <a:pt x="528"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7" name="Freeform 29">
              <a:extLst>
                <a:ext uri="{FF2B5EF4-FFF2-40B4-BE49-F238E27FC236}">
                  <a16:creationId xmlns:a16="http://schemas.microsoft.com/office/drawing/2014/main" id="{E97250C7-CF90-4F8D-B5FA-A7411B92E050}"/>
                </a:ext>
              </a:extLst>
            </p:cNvPr>
            <p:cNvSpPr>
              <a:spLocks/>
            </p:cNvSpPr>
            <p:nvPr/>
          </p:nvSpPr>
          <p:spPr bwMode="auto">
            <a:xfrm>
              <a:off x="5326776" y="5884990"/>
              <a:ext cx="1468448" cy="165660"/>
            </a:xfrm>
            <a:custGeom>
              <a:avLst/>
              <a:gdLst/>
              <a:ahLst/>
              <a:cxnLst>
                <a:cxn ang="0">
                  <a:pos x="528" y="0"/>
                </a:cxn>
                <a:cxn ang="0">
                  <a:pos x="733" y="0"/>
                </a:cxn>
                <a:cxn ang="0">
                  <a:pos x="831" y="5"/>
                </a:cxn>
                <a:cxn ang="0">
                  <a:pos x="922" y="10"/>
                </a:cxn>
                <a:cxn ang="0">
                  <a:pos x="1003" y="17"/>
                </a:cxn>
                <a:cxn ang="0">
                  <a:pos x="1077" y="26"/>
                </a:cxn>
                <a:cxn ang="0">
                  <a:pos x="1140" y="35"/>
                </a:cxn>
                <a:cxn ang="0">
                  <a:pos x="1191" y="45"/>
                </a:cxn>
                <a:cxn ang="0">
                  <a:pos x="1229" y="59"/>
                </a:cxn>
                <a:cxn ang="0">
                  <a:pos x="1252" y="70"/>
                </a:cxn>
                <a:cxn ang="0">
                  <a:pos x="1261" y="85"/>
                </a:cxn>
                <a:cxn ang="0">
                  <a:pos x="1252" y="99"/>
                </a:cxn>
                <a:cxn ang="0">
                  <a:pos x="1229" y="110"/>
                </a:cxn>
                <a:cxn ang="0">
                  <a:pos x="1191" y="122"/>
                </a:cxn>
                <a:cxn ang="0">
                  <a:pos x="1140" y="134"/>
                </a:cxn>
                <a:cxn ang="0">
                  <a:pos x="1077" y="143"/>
                </a:cxn>
                <a:cxn ang="0">
                  <a:pos x="1003" y="150"/>
                </a:cxn>
                <a:cxn ang="0">
                  <a:pos x="922" y="157"/>
                </a:cxn>
                <a:cxn ang="0">
                  <a:pos x="831" y="162"/>
                </a:cxn>
                <a:cxn ang="0">
                  <a:pos x="733" y="166"/>
                </a:cxn>
                <a:cxn ang="0">
                  <a:pos x="528" y="166"/>
                </a:cxn>
                <a:cxn ang="0">
                  <a:pos x="433" y="162"/>
                </a:cxn>
                <a:cxn ang="0">
                  <a:pos x="342" y="157"/>
                </a:cxn>
                <a:cxn ang="0">
                  <a:pos x="258" y="150"/>
                </a:cxn>
                <a:cxn ang="0">
                  <a:pos x="186" y="143"/>
                </a:cxn>
                <a:cxn ang="0">
                  <a:pos x="121" y="134"/>
                </a:cxn>
                <a:cxn ang="0">
                  <a:pos x="70" y="122"/>
                </a:cxn>
                <a:cxn ang="0">
                  <a:pos x="33" y="110"/>
                </a:cxn>
                <a:cxn ang="0">
                  <a:pos x="10" y="99"/>
                </a:cxn>
                <a:cxn ang="0">
                  <a:pos x="0" y="85"/>
                </a:cxn>
                <a:cxn ang="0">
                  <a:pos x="10" y="70"/>
                </a:cxn>
                <a:cxn ang="0">
                  <a:pos x="33" y="59"/>
                </a:cxn>
                <a:cxn ang="0">
                  <a:pos x="70" y="45"/>
                </a:cxn>
                <a:cxn ang="0">
                  <a:pos x="121" y="35"/>
                </a:cxn>
                <a:cxn ang="0">
                  <a:pos x="186" y="26"/>
                </a:cxn>
                <a:cxn ang="0">
                  <a:pos x="258" y="17"/>
                </a:cxn>
                <a:cxn ang="0">
                  <a:pos x="342" y="10"/>
                </a:cxn>
                <a:cxn ang="0">
                  <a:pos x="433" y="5"/>
                </a:cxn>
                <a:cxn ang="0">
                  <a:pos x="528" y="0"/>
                </a:cxn>
              </a:cxnLst>
              <a:rect l="0" t="0" r="r" b="b"/>
              <a:pathLst>
                <a:path w="1261" h="166">
                  <a:moveTo>
                    <a:pt x="528" y="0"/>
                  </a:moveTo>
                  <a:lnTo>
                    <a:pt x="733" y="0"/>
                  </a:lnTo>
                  <a:lnTo>
                    <a:pt x="831" y="5"/>
                  </a:lnTo>
                  <a:lnTo>
                    <a:pt x="922" y="10"/>
                  </a:lnTo>
                  <a:lnTo>
                    <a:pt x="1003" y="17"/>
                  </a:lnTo>
                  <a:lnTo>
                    <a:pt x="1077" y="26"/>
                  </a:lnTo>
                  <a:lnTo>
                    <a:pt x="1140" y="35"/>
                  </a:lnTo>
                  <a:lnTo>
                    <a:pt x="1191" y="45"/>
                  </a:lnTo>
                  <a:lnTo>
                    <a:pt x="1229" y="59"/>
                  </a:lnTo>
                  <a:lnTo>
                    <a:pt x="1252" y="70"/>
                  </a:lnTo>
                  <a:lnTo>
                    <a:pt x="1261" y="85"/>
                  </a:lnTo>
                  <a:lnTo>
                    <a:pt x="1252" y="99"/>
                  </a:lnTo>
                  <a:lnTo>
                    <a:pt x="1229" y="110"/>
                  </a:lnTo>
                  <a:lnTo>
                    <a:pt x="1191" y="122"/>
                  </a:lnTo>
                  <a:lnTo>
                    <a:pt x="1140" y="134"/>
                  </a:lnTo>
                  <a:lnTo>
                    <a:pt x="1077" y="143"/>
                  </a:lnTo>
                  <a:lnTo>
                    <a:pt x="1003" y="150"/>
                  </a:lnTo>
                  <a:lnTo>
                    <a:pt x="922" y="157"/>
                  </a:lnTo>
                  <a:lnTo>
                    <a:pt x="831" y="162"/>
                  </a:lnTo>
                  <a:lnTo>
                    <a:pt x="733" y="166"/>
                  </a:lnTo>
                  <a:lnTo>
                    <a:pt x="528" y="166"/>
                  </a:lnTo>
                  <a:lnTo>
                    <a:pt x="433" y="162"/>
                  </a:lnTo>
                  <a:lnTo>
                    <a:pt x="342" y="157"/>
                  </a:lnTo>
                  <a:lnTo>
                    <a:pt x="258" y="150"/>
                  </a:lnTo>
                  <a:lnTo>
                    <a:pt x="186" y="143"/>
                  </a:lnTo>
                  <a:lnTo>
                    <a:pt x="121" y="134"/>
                  </a:lnTo>
                  <a:lnTo>
                    <a:pt x="70" y="122"/>
                  </a:lnTo>
                  <a:lnTo>
                    <a:pt x="33" y="110"/>
                  </a:lnTo>
                  <a:lnTo>
                    <a:pt x="10" y="99"/>
                  </a:lnTo>
                  <a:lnTo>
                    <a:pt x="0" y="85"/>
                  </a:lnTo>
                  <a:lnTo>
                    <a:pt x="10" y="70"/>
                  </a:lnTo>
                  <a:lnTo>
                    <a:pt x="33" y="59"/>
                  </a:lnTo>
                  <a:lnTo>
                    <a:pt x="70" y="45"/>
                  </a:lnTo>
                  <a:lnTo>
                    <a:pt x="121" y="35"/>
                  </a:lnTo>
                  <a:lnTo>
                    <a:pt x="186" y="26"/>
                  </a:lnTo>
                  <a:lnTo>
                    <a:pt x="258" y="17"/>
                  </a:lnTo>
                  <a:lnTo>
                    <a:pt x="342" y="10"/>
                  </a:lnTo>
                  <a:lnTo>
                    <a:pt x="433" y="5"/>
                  </a:lnTo>
                  <a:lnTo>
                    <a:pt x="528"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grpSp>
      <p:sp>
        <p:nvSpPr>
          <p:cNvPr id="68" name="TextBox 67">
            <a:extLst>
              <a:ext uri="{FF2B5EF4-FFF2-40B4-BE49-F238E27FC236}">
                <a16:creationId xmlns:a16="http://schemas.microsoft.com/office/drawing/2014/main" id="{B1083587-35A7-47A9-A8F9-877F7963E1A8}"/>
              </a:ext>
            </a:extLst>
          </p:cNvPr>
          <p:cNvSpPr txBox="1"/>
          <p:nvPr/>
        </p:nvSpPr>
        <p:spPr>
          <a:xfrm>
            <a:off x="5478950" y="5463966"/>
            <a:ext cx="1180407" cy="266301"/>
          </a:xfrm>
          <a:prstGeom prst="rect">
            <a:avLst/>
          </a:prstGeom>
          <a:no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stStyle>
          <a:p>
            <a:pPr algn="ctr"/>
            <a:r>
              <a:rPr lang="en-US" sz="1400" dirty="0">
                <a:solidFill>
                  <a:schemeClr val="bg1"/>
                </a:solidFill>
                <a:cs typeface="Arial" pitchFamily="34" charset="0"/>
              </a:rPr>
              <a:t>Criteria</a:t>
            </a:r>
          </a:p>
        </p:txBody>
      </p:sp>
      <p:cxnSp>
        <p:nvCxnSpPr>
          <p:cNvPr id="69" name="Straight Connector 68">
            <a:extLst>
              <a:ext uri="{FF2B5EF4-FFF2-40B4-BE49-F238E27FC236}">
                <a16:creationId xmlns:a16="http://schemas.microsoft.com/office/drawing/2014/main" id="{2742DF09-3DD2-49DE-BEC7-D300104F6FB8}"/>
              </a:ext>
            </a:extLst>
          </p:cNvPr>
          <p:cNvCxnSpPr>
            <a:cxnSpLocks/>
          </p:cNvCxnSpPr>
          <p:nvPr/>
        </p:nvCxnSpPr>
        <p:spPr>
          <a:xfrm flipH="1">
            <a:off x="4106609" y="5646163"/>
            <a:ext cx="1296000" cy="1145"/>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6D21E194-7E24-48DE-A87D-6FF40ED4941B}"/>
              </a:ext>
            </a:extLst>
          </p:cNvPr>
          <p:cNvSpPr/>
          <p:nvPr/>
        </p:nvSpPr>
        <p:spPr>
          <a:xfrm flipH="1">
            <a:off x="4014765" y="5595025"/>
            <a:ext cx="120683" cy="103422"/>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TextBox 70">
            <a:extLst>
              <a:ext uri="{FF2B5EF4-FFF2-40B4-BE49-F238E27FC236}">
                <a16:creationId xmlns:a16="http://schemas.microsoft.com/office/drawing/2014/main" id="{F1BAB5D2-8039-498A-9B14-BA3D71BB06BC}"/>
              </a:ext>
            </a:extLst>
          </p:cNvPr>
          <p:cNvSpPr txBox="1"/>
          <p:nvPr/>
        </p:nvSpPr>
        <p:spPr>
          <a:xfrm>
            <a:off x="720436" y="5422544"/>
            <a:ext cx="3189338" cy="633012"/>
          </a:xfrm>
          <a:prstGeom prst="rect">
            <a:avLst/>
          </a:prstGeom>
          <a:noFill/>
        </p:spPr>
        <p:txBody>
          <a:bodyPr wrap="square" rtlCol="0">
            <a:spAutoFit/>
          </a:bodyPr>
          <a:lstStyle/>
          <a:p>
            <a:r>
              <a:rPr lang="en-US" sz="1400" b="1" kern="0" dirty="0">
                <a:cs typeface="Arial" pitchFamily="34" charset="0"/>
              </a:rPr>
              <a:t>The target company needs to have a premium positioning and good reputation</a:t>
            </a:r>
            <a:endParaRPr lang="en-US" sz="1400" b="1" dirty="0"/>
          </a:p>
        </p:txBody>
      </p:sp>
      <p:sp>
        <p:nvSpPr>
          <p:cNvPr id="2" name="Rectangle: Rounded Corners 1">
            <a:extLst>
              <a:ext uri="{FF2B5EF4-FFF2-40B4-BE49-F238E27FC236}">
                <a16:creationId xmlns:a16="http://schemas.microsoft.com/office/drawing/2014/main" id="{C34EA82B-894F-B18A-1A1C-E49EF5381E92}"/>
              </a:ext>
            </a:extLst>
          </p:cNvPr>
          <p:cNvSpPr/>
          <p:nvPr/>
        </p:nvSpPr>
        <p:spPr>
          <a:xfrm>
            <a:off x="10249017" y="271821"/>
            <a:ext cx="1663438"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Tutorial</a:t>
            </a:r>
          </a:p>
        </p:txBody>
      </p:sp>
    </p:spTree>
    <p:extLst>
      <p:ext uri="{BB962C8B-B14F-4D97-AF65-F5344CB8AC3E}">
        <p14:creationId xmlns:p14="http://schemas.microsoft.com/office/powerpoint/2010/main" val="31814360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Based on our M&amp;A strategy, we identified 20 [insert your own number] potential target companies, including the 10 listed below</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8</a:t>
            </a:fld>
            <a:endParaRPr lang="en-US" dirty="0">
              <a:solidFill>
                <a:srgbClr val="ADAFBB"/>
              </a:solidFill>
            </a:endParaRPr>
          </a:p>
        </p:txBody>
      </p:sp>
      <p:graphicFrame>
        <p:nvGraphicFramePr>
          <p:cNvPr id="10" name="Group 3">
            <a:extLst>
              <a:ext uri="{FF2B5EF4-FFF2-40B4-BE49-F238E27FC236}">
                <a16:creationId xmlns:a16="http://schemas.microsoft.com/office/drawing/2014/main" id="{23AC34B1-4AB8-4F11-8C60-3B7DB2435F5F}"/>
              </a:ext>
            </a:extLst>
          </p:cNvPr>
          <p:cNvGraphicFramePr>
            <a:graphicFrameLocks/>
          </p:cNvGraphicFramePr>
          <p:nvPr>
            <p:custDataLst>
              <p:tags r:id="rId2"/>
            </p:custDataLst>
          </p:nvPr>
        </p:nvGraphicFramePr>
        <p:xfrm>
          <a:off x="618835" y="1594064"/>
          <a:ext cx="10968326" cy="4487183"/>
        </p:xfrm>
        <a:graphic>
          <a:graphicData uri="http://schemas.openxmlformats.org/drawingml/2006/table">
            <a:tbl>
              <a:tblPr>
                <a:tableStyleId>{8799B23B-EC83-4686-B30A-512413B5E67A}</a:tableStyleId>
              </a:tblPr>
              <a:tblGrid>
                <a:gridCol w="2002915">
                  <a:extLst>
                    <a:ext uri="{9D8B030D-6E8A-4147-A177-3AD203B41FA5}">
                      <a16:colId xmlns:a16="http://schemas.microsoft.com/office/drawing/2014/main" val="20000"/>
                    </a:ext>
                  </a:extLst>
                </a:gridCol>
                <a:gridCol w="961959">
                  <a:extLst>
                    <a:ext uri="{9D8B030D-6E8A-4147-A177-3AD203B41FA5}">
                      <a16:colId xmlns:a16="http://schemas.microsoft.com/office/drawing/2014/main" val="20001"/>
                    </a:ext>
                  </a:extLst>
                </a:gridCol>
                <a:gridCol w="1690255">
                  <a:extLst>
                    <a:ext uri="{9D8B030D-6E8A-4147-A177-3AD203B41FA5}">
                      <a16:colId xmlns:a16="http://schemas.microsoft.com/office/drawing/2014/main" val="20002"/>
                    </a:ext>
                  </a:extLst>
                </a:gridCol>
                <a:gridCol w="886691">
                  <a:extLst>
                    <a:ext uri="{9D8B030D-6E8A-4147-A177-3AD203B41FA5}">
                      <a16:colId xmlns:a16="http://schemas.microsoft.com/office/drawing/2014/main" val="20003"/>
                    </a:ext>
                  </a:extLst>
                </a:gridCol>
                <a:gridCol w="822036">
                  <a:extLst>
                    <a:ext uri="{9D8B030D-6E8A-4147-A177-3AD203B41FA5}">
                      <a16:colId xmlns:a16="http://schemas.microsoft.com/office/drawing/2014/main" val="20004"/>
                    </a:ext>
                  </a:extLst>
                </a:gridCol>
                <a:gridCol w="1034473">
                  <a:extLst>
                    <a:ext uri="{9D8B030D-6E8A-4147-A177-3AD203B41FA5}">
                      <a16:colId xmlns:a16="http://schemas.microsoft.com/office/drawing/2014/main" val="20005"/>
                    </a:ext>
                  </a:extLst>
                </a:gridCol>
                <a:gridCol w="1237672">
                  <a:extLst>
                    <a:ext uri="{9D8B030D-6E8A-4147-A177-3AD203B41FA5}">
                      <a16:colId xmlns:a16="http://schemas.microsoft.com/office/drawing/2014/main" val="20006"/>
                    </a:ext>
                  </a:extLst>
                </a:gridCol>
                <a:gridCol w="2332325">
                  <a:extLst>
                    <a:ext uri="{9D8B030D-6E8A-4147-A177-3AD203B41FA5}">
                      <a16:colId xmlns:a16="http://schemas.microsoft.com/office/drawing/2014/main" val="20007"/>
                    </a:ext>
                  </a:extLst>
                </a:gridCol>
              </a:tblGrid>
              <a:tr h="52106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1" i="0" u="none" strike="noStrike" cap="none" normalizeH="0" baseline="0" dirty="0">
                        <a:ln>
                          <a:noFill/>
                        </a:ln>
                        <a:solidFill>
                          <a:schemeClr val="bg1"/>
                        </a:solidFill>
                        <a:effectLst/>
                        <a:latin typeface="Arial" charset="0"/>
                      </a:endParaRPr>
                    </a:p>
                  </a:txBody>
                  <a:tcPr marL="66462" marR="66462" marT="36000" marB="36000" anchor="ctr" horzOverflow="overflow">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1" i="0" u="none" strike="noStrike" dirty="0">
                          <a:solidFill>
                            <a:schemeClr val="bg1"/>
                          </a:solidFill>
                          <a:effectLst/>
                          <a:latin typeface="Arial" panose="020B0604020202020204" pitchFamily="34" charset="0"/>
                        </a:rPr>
                        <a:t>CEO</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Main activity</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Revenu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Profi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Market shar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Number of employee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Strategic rational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396612">
                <a:tc>
                  <a:txBody>
                    <a:bodyPr/>
                    <a:lstStyle/>
                    <a:p>
                      <a:pPr marL="0" indent="0">
                        <a:lnSpc>
                          <a:spcPct val="106000"/>
                        </a:lnSpc>
                        <a:spcBef>
                          <a:spcPts val="40"/>
                        </a:spcBef>
                        <a:spcAft>
                          <a:spcPts val="40"/>
                        </a:spcAft>
                        <a:buFont typeface="Arial" pitchFamily="34" charset="0"/>
                        <a:buNone/>
                      </a:pPr>
                      <a:r>
                        <a:rPr lang="en-US" sz="1000" b="1" dirty="0">
                          <a:solidFill>
                            <a:schemeClr val="tx1"/>
                          </a:solidFill>
                          <a:latin typeface="Arial" charset="0"/>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bl>
          </a:graphicData>
        </a:graphic>
      </p:graphicFrame>
      <p:sp>
        <p:nvSpPr>
          <p:cNvPr id="3" name="Arrow: Right 2">
            <a:extLst>
              <a:ext uri="{FF2B5EF4-FFF2-40B4-BE49-F238E27FC236}">
                <a16:creationId xmlns:a16="http://schemas.microsoft.com/office/drawing/2014/main" id="{421A66C2-B691-4389-824C-E3F18372E226}"/>
              </a:ext>
            </a:extLst>
          </p:cNvPr>
          <p:cNvSpPr/>
          <p:nvPr/>
        </p:nvSpPr>
        <p:spPr>
          <a:xfrm>
            <a:off x="618835" y="6180697"/>
            <a:ext cx="323274" cy="3889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8D12591C-F2B2-4B92-BBEE-9DA06EF86BF5}"/>
              </a:ext>
            </a:extLst>
          </p:cNvPr>
          <p:cNvSpPr txBox="1"/>
          <p:nvPr/>
        </p:nvSpPr>
        <p:spPr>
          <a:xfrm>
            <a:off x="942109" y="6218867"/>
            <a:ext cx="10631056" cy="307777"/>
          </a:xfrm>
          <a:prstGeom prst="rect">
            <a:avLst/>
          </a:prstGeom>
          <a:noFill/>
        </p:spPr>
        <p:txBody>
          <a:bodyPr wrap="square" rtlCol="0">
            <a:spAutoFit/>
          </a:bodyPr>
          <a:lstStyle/>
          <a:p>
            <a:r>
              <a:rPr lang="en-US" sz="1400" dirty="0"/>
              <a:t>To access the most comprehensive list of our potential target companies, open the Excel sheet “Target companies”</a:t>
            </a:r>
          </a:p>
        </p:txBody>
      </p:sp>
    </p:spTree>
    <p:extLst>
      <p:ext uri="{BB962C8B-B14F-4D97-AF65-F5344CB8AC3E}">
        <p14:creationId xmlns:p14="http://schemas.microsoft.com/office/powerpoint/2010/main" val="32672092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Based on our M&amp;A strategy, we identified 20 [insert your own number] potential target companies, including the 10 listed below</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9</a:t>
            </a:fld>
            <a:endParaRPr lang="en-US" dirty="0">
              <a:solidFill>
                <a:srgbClr val="ADAFBB"/>
              </a:solidFill>
            </a:endParaRPr>
          </a:p>
        </p:txBody>
      </p:sp>
      <p:graphicFrame>
        <p:nvGraphicFramePr>
          <p:cNvPr id="10" name="Group 3">
            <a:extLst>
              <a:ext uri="{FF2B5EF4-FFF2-40B4-BE49-F238E27FC236}">
                <a16:creationId xmlns:a16="http://schemas.microsoft.com/office/drawing/2014/main" id="{23AC34B1-4AB8-4F11-8C60-3B7DB2435F5F}"/>
              </a:ext>
            </a:extLst>
          </p:cNvPr>
          <p:cNvGraphicFramePr>
            <a:graphicFrameLocks/>
          </p:cNvGraphicFramePr>
          <p:nvPr>
            <p:custDataLst>
              <p:tags r:id="rId2"/>
            </p:custDataLst>
          </p:nvPr>
        </p:nvGraphicFramePr>
        <p:xfrm>
          <a:off x="618835" y="1594064"/>
          <a:ext cx="10968326" cy="4487183"/>
        </p:xfrm>
        <a:graphic>
          <a:graphicData uri="http://schemas.openxmlformats.org/drawingml/2006/table">
            <a:tbl>
              <a:tblPr>
                <a:tableStyleId>{8799B23B-EC83-4686-B30A-512413B5E67A}</a:tableStyleId>
              </a:tblPr>
              <a:tblGrid>
                <a:gridCol w="2002915">
                  <a:extLst>
                    <a:ext uri="{9D8B030D-6E8A-4147-A177-3AD203B41FA5}">
                      <a16:colId xmlns:a16="http://schemas.microsoft.com/office/drawing/2014/main" val="20000"/>
                    </a:ext>
                  </a:extLst>
                </a:gridCol>
                <a:gridCol w="961959">
                  <a:extLst>
                    <a:ext uri="{9D8B030D-6E8A-4147-A177-3AD203B41FA5}">
                      <a16:colId xmlns:a16="http://schemas.microsoft.com/office/drawing/2014/main" val="20001"/>
                    </a:ext>
                  </a:extLst>
                </a:gridCol>
                <a:gridCol w="1690255">
                  <a:extLst>
                    <a:ext uri="{9D8B030D-6E8A-4147-A177-3AD203B41FA5}">
                      <a16:colId xmlns:a16="http://schemas.microsoft.com/office/drawing/2014/main" val="20002"/>
                    </a:ext>
                  </a:extLst>
                </a:gridCol>
                <a:gridCol w="886691">
                  <a:extLst>
                    <a:ext uri="{9D8B030D-6E8A-4147-A177-3AD203B41FA5}">
                      <a16:colId xmlns:a16="http://schemas.microsoft.com/office/drawing/2014/main" val="20003"/>
                    </a:ext>
                  </a:extLst>
                </a:gridCol>
                <a:gridCol w="822036">
                  <a:extLst>
                    <a:ext uri="{9D8B030D-6E8A-4147-A177-3AD203B41FA5}">
                      <a16:colId xmlns:a16="http://schemas.microsoft.com/office/drawing/2014/main" val="20004"/>
                    </a:ext>
                  </a:extLst>
                </a:gridCol>
                <a:gridCol w="1034473">
                  <a:extLst>
                    <a:ext uri="{9D8B030D-6E8A-4147-A177-3AD203B41FA5}">
                      <a16:colId xmlns:a16="http://schemas.microsoft.com/office/drawing/2014/main" val="20005"/>
                    </a:ext>
                  </a:extLst>
                </a:gridCol>
                <a:gridCol w="1237672">
                  <a:extLst>
                    <a:ext uri="{9D8B030D-6E8A-4147-A177-3AD203B41FA5}">
                      <a16:colId xmlns:a16="http://schemas.microsoft.com/office/drawing/2014/main" val="20006"/>
                    </a:ext>
                  </a:extLst>
                </a:gridCol>
                <a:gridCol w="2332325">
                  <a:extLst>
                    <a:ext uri="{9D8B030D-6E8A-4147-A177-3AD203B41FA5}">
                      <a16:colId xmlns:a16="http://schemas.microsoft.com/office/drawing/2014/main" val="20007"/>
                    </a:ext>
                  </a:extLst>
                </a:gridCol>
              </a:tblGrid>
              <a:tr h="52106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1" i="0" u="none" strike="noStrike" cap="none" normalizeH="0" baseline="0" dirty="0">
                        <a:ln>
                          <a:noFill/>
                        </a:ln>
                        <a:solidFill>
                          <a:schemeClr val="bg1"/>
                        </a:solidFill>
                        <a:effectLst/>
                        <a:latin typeface="Arial" charset="0"/>
                      </a:endParaRPr>
                    </a:p>
                  </a:txBody>
                  <a:tcPr marL="66462" marR="66462" marT="36000" marB="36000" anchor="ctr" horzOverflow="overflow">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1" i="0" u="none" strike="noStrike" dirty="0">
                          <a:solidFill>
                            <a:schemeClr val="bg1"/>
                          </a:solidFill>
                          <a:effectLst/>
                          <a:latin typeface="Arial" panose="020B0604020202020204" pitchFamily="34" charset="0"/>
                        </a:rPr>
                        <a:t>CEO</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Main activity</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Revenu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Profi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Market shar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Number of employee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000" b="1" i="0" u="none" strike="noStrike" dirty="0">
                          <a:solidFill>
                            <a:schemeClr val="bg1"/>
                          </a:solidFill>
                          <a:effectLst/>
                          <a:latin typeface="Arial" panose="020B0604020202020204" pitchFamily="34" charset="0"/>
                        </a:rPr>
                        <a:t>Strategic rational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396612">
                <a:tc>
                  <a:txBody>
                    <a:bodyPr/>
                    <a:lstStyle/>
                    <a:p>
                      <a:pPr marL="0" indent="0">
                        <a:lnSpc>
                          <a:spcPct val="106000"/>
                        </a:lnSpc>
                        <a:spcBef>
                          <a:spcPts val="40"/>
                        </a:spcBef>
                        <a:spcAft>
                          <a:spcPts val="40"/>
                        </a:spcAft>
                        <a:buFont typeface="Arial" pitchFamily="34" charset="0"/>
                        <a:buNone/>
                      </a:pPr>
                      <a:r>
                        <a:rPr lang="en-US" sz="1000" b="1" dirty="0">
                          <a:solidFill>
                            <a:schemeClr val="tx1"/>
                          </a:solidFill>
                          <a:latin typeface="Arial" charset="0"/>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96612">
                <a:tc>
                  <a:txBody>
                    <a:bodyPr/>
                    <a:lstStyle/>
                    <a:p>
                      <a:pPr marL="0" marR="0" lvl="0" indent="0" algn="l" defTabSz="914377" rtl="0" eaLnBrk="1" fontAlgn="auto" latinLnBrk="0" hangingPunct="1">
                        <a:lnSpc>
                          <a:spcPct val="106000"/>
                        </a:lnSpc>
                        <a:spcBef>
                          <a:spcPts val="40"/>
                        </a:spcBef>
                        <a:spcAft>
                          <a:spcPts val="40"/>
                        </a:spcAft>
                        <a:buClrTx/>
                        <a:buSzTx/>
                        <a:buFont typeface="Arial" pitchFamily="34" charset="0"/>
                        <a:buNone/>
                        <a:tabLst/>
                        <a:defRPr/>
                      </a:pPr>
                      <a:r>
                        <a:rPr kumimoji="0" lang="en-US" sz="1000" b="1" i="0" u="none" strike="noStrike" kern="1200" cap="none" spc="0" normalizeH="0" baseline="0" noProof="0" dirty="0">
                          <a:ln>
                            <a:noFill/>
                          </a:ln>
                          <a:solidFill>
                            <a:srgbClr val="002060"/>
                          </a:solidFill>
                          <a:effectLst/>
                          <a:uLnTx/>
                          <a:uFillTx/>
                          <a:latin typeface="Arial" charset="0"/>
                          <a:ea typeface="+mn-ea"/>
                          <a:cs typeface="+mn-cs"/>
                        </a:rPr>
                        <a:t>Insert company name</a:t>
                      </a:r>
                    </a:p>
                  </a:txBody>
                  <a:tcPr marL="66462" marR="66462" marT="36000" marB="36000" anchor="ctr" horzOverflow="overflow">
                    <a:lnL w="1270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800" b="0" u="none" strike="noStrike" kern="1200" cap="none" normalizeH="0" baseline="0" dirty="0">
                          <a:ln>
                            <a:noFill/>
                          </a:ln>
                          <a:solidFill>
                            <a:schemeClr val="tx1"/>
                          </a:solidFill>
                          <a:effectLst/>
                          <a:latin typeface="+mn-lt"/>
                          <a:ea typeface="+mn-ea"/>
                          <a:cs typeface="+mn-cs"/>
                        </a:rPr>
                        <a:t>Insert your own text</a:t>
                      </a:r>
                    </a:p>
                  </a:txBody>
                  <a:tcPr marL="66462" marR="66462" marT="36000" marB="36000" anchor="ctr" horzOverflow="overflow">
                    <a:lnL w="635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bl>
          </a:graphicData>
        </a:graphic>
      </p:graphicFrame>
      <p:sp>
        <p:nvSpPr>
          <p:cNvPr id="3" name="Arrow: Right 2">
            <a:extLst>
              <a:ext uri="{FF2B5EF4-FFF2-40B4-BE49-F238E27FC236}">
                <a16:creationId xmlns:a16="http://schemas.microsoft.com/office/drawing/2014/main" id="{421A66C2-B691-4389-824C-E3F18372E226}"/>
              </a:ext>
            </a:extLst>
          </p:cNvPr>
          <p:cNvSpPr/>
          <p:nvPr/>
        </p:nvSpPr>
        <p:spPr>
          <a:xfrm>
            <a:off x="618835" y="6180697"/>
            <a:ext cx="323274" cy="3889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8D12591C-F2B2-4B92-BBEE-9DA06EF86BF5}"/>
              </a:ext>
            </a:extLst>
          </p:cNvPr>
          <p:cNvSpPr txBox="1"/>
          <p:nvPr/>
        </p:nvSpPr>
        <p:spPr>
          <a:xfrm>
            <a:off x="942109" y="6218867"/>
            <a:ext cx="10631056" cy="307777"/>
          </a:xfrm>
          <a:prstGeom prst="rect">
            <a:avLst/>
          </a:prstGeom>
          <a:noFill/>
        </p:spPr>
        <p:txBody>
          <a:bodyPr wrap="square" rtlCol="0">
            <a:spAutoFit/>
          </a:bodyPr>
          <a:lstStyle/>
          <a:p>
            <a:r>
              <a:rPr lang="en-US" sz="1400" dirty="0"/>
              <a:t>To access the most comprehensive list of our potential target companies, open the Excel sheet “Target companies”</a:t>
            </a:r>
          </a:p>
        </p:txBody>
      </p:sp>
      <p:sp>
        <p:nvSpPr>
          <p:cNvPr id="8" name="Speech Bubble: Rectangle with Corners Rounded 7">
            <a:extLst>
              <a:ext uri="{FF2B5EF4-FFF2-40B4-BE49-F238E27FC236}">
                <a16:creationId xmlns:a16="http://schemas.microsoft.com/office/drawing/2014/main" id="{422046E5-4236-4DA6-A7FA-28377F764577}"/>
              </a:ext>
            </a:extLst>
          </p:cNvPr>
          <p:cNvSpPr/>
          <p:nvPr/>
        </p:nvSpPr>
        <p:spPr bwMode="auto">
          <a:xfrm>
            <a:off x="8262142" y="2371851"/>
            <a:ext cx="3207917" cy="613713"/>
          </a:xfrm>
          <a:prstGeom prst="wedgeRoundRectCallout">
            <a:avLst>
              <a:gd name="adj1" fmla="val -51827"/>
              <a:gd name="adj2" fmla="val -11402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You can replace the column header based on what information you want to emphasize. </a:t>
            </a:r>
            <a:endParaRPr lang="en-US" sz="1200" b="1" dirty="0">
              <a:solidFill>
                <a:srgbClr val="0C2870"/>
              </a:solidFill>
              <a:latin typeface="Arial" charset="0"/>
              <a:cs typeface="Times New Roman" pitchFamily="18" charset="0"/>
            </a:endParaRPr>
          </a:p>
        </p:txBody>
      </p:sp>
      <p:sp>
        <p:nvSpPr>
          <p:cNvPr id="9" name="Speech Bubble: Rectangle with Corners Rounded 8">
            <a:extLst>
              <a:ext uri="{FF2B5EF4-FFF2-40B4-BE49-F238E27FC236}">
                <a16:creationId xmlns:a16="http://schemas.microsoft.com/office/drawing/2014/main" id="{344E1E47-F5D0-4B38-BE8C-A15927D389C3}"/>
              </a:ext>
            </a:extLst>
          </p:cNvPr>
          <p:cNvSpPr/>
          <p:nvPr/>
        </p:nvSpPr>
        <p:spPr bwMode="auto">
          <a:xfrm>
            <a:off x="2212324" y="4283779"/>
            <a:ext cx="3207917" cy="980157"/>
          </a:xfrm>
          <a:prstGeom prst="wedgeRoundRectCallout">
            <a:avLst>
              <a:gd name="adj1" fmla="val -52979"/>
              <a:gd name="adj2" fmla="val -866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Select the top companies you want to emphasize. If someone wants to see the most comprehensive list, open the Excel sheet “Target companies”</a:t>
            </a:r>
            <a:endParaRPr lang="en-US" sz="1200" b="1" dirty="0">
              <a:solidFill>
                <a:srgbClr val="0C2870"/>
              </a:solidFill>
              <a:latin typeface="Arial" charset="0"/>
              <a:cs typeface="Times New Roman" pitchFamily="18" charset="0"/>
            </a:endParaRPr>
          </a:p>
        </p:txBody>
      </p:sp>
      <p:sp>
        <p:nvSpPr>
          <p:cNvPr id="5" name="Rectangle: Rounded Corners 4">
            <a:extLst>
              <a:ext uri="{FF2B5EF4-FFF2-40B4-BE49-F238E27FC236}">
                <a16:creationId xmlns:a16="http://schemas.microsoft.com/office/drawing/2014/main" id="{E04F0EBA-7932-2202-73EA-8FA1B9F88940}"/>
              </a:ext>
            </a:extLst>
          </p:cNvPr>
          <p:cNvSpPr/>
          <p:nvPr/>
        </p:nvSpPr>
        <p:spPr>
          <a:xfrm>
            <a:off x="10249017" y="271821"/>
            <a:ext cx="1663438"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Tutorial</a:t>
            </a:r>
          </a:p>
        </p:txBody>
      </p:sp>
    </p:spTree>
    <p:extLst>
      <p:ext uri="{BB962C8B-B14F-4D97-AF65-F5344CB8AC3E}">
        <p14:creationId xmlns:p14="http://schemas.microsoft.com/office/powerpoint/2010/main" val="16442878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Props1.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3.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docProps/app.xml><?xml version="1.0" encoding="utf-8"?>
<Properties xmlns="http://schemas.openxmlformats.org/officeDocument/2006/extended-properties" xmlns:vt="http://schemas.openxmlformats.org/officeDocument/2006/docPropsVTypes">
  <Template/>
  <TotalTime>3727</TotalTime>
  <Words>5017</Words>
  <Application>Microsoft Office PowerPoint</Application>
  <PresentationFormat>Widescreen</PresentationFormat>
  <Paragraphs>1074</Paragraphs>
  <Slides>31</Slides>
  <Notes>11</Notes>
  <HiddenSlides>0</HiddenSlides>
  <MMClips>0</MMClips>
  <ScaleCrop>false</ScaleCrop>
  <HeadingPairs>
    <vt:vector size="8" baseType="variant">
      <vt:variant>
        <vt:lpstr>Fonts Used</vt:lpstr>
      </vt:variant>
      <vt:variant>
        <vt:i4>4</vt:i4>
      </vt:variant>
      <vt:variant>
        <vt:lpstr>Theme</vt:lpstr>
      </vt:variant>
      <vt:variant>
        <vt:i4>9</vt:i4>
      </vt:variant>
      <vt:variant>
        <vt:lpstr>Embedded OLE Servers</vt:lpstr>
      </vt:variant>
      <vt:variant>
        <vt:i4>1</vt:i4>
      </vt:variant>
      <vt:variant>
        <vt:lpstr>Slide Titles</vt:lpstr>
      </vt:variant>
      <vt:variant>
        <vt:i4>31</vt:i4>
      </vt:variant>
    </vt:vector>
  </HeadingPairs>
  <TitlesOfParts>
    <vt:vector size="45" baseType="lpstr">
      <vt:lpstr>Arial</vt:lpstr>
      <vt:lpstr>Calibri</vt:lpstr>
      <vt:lpstr>Wingdings 2</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Target companies</vt:lpstr>
      <vt:lpstr>Guide</vt:lpstr>
      <vt:lpstr>This deliverable will focus on the phase II of our Mergers &amp; Acquisitions 6-phase approach</vt:lpstr>
      <vt:lpstr>Table of contents</vt:lpstr>
      <vt:lpstr>We identified 5 [insert your own number] screening criteria to help us select the right companies to potentially acquire</vt:lpstr>
      <vt:lpstr>We identified 5 [insert your own number] screening criteria to help us select the right companies to potentially acquire</vt:lpstr>
      <vt:lpstr>We identified 6 [insert your own number] screening criteria to help us select the right companies to potentially acquire</vt:lpstr>
      <vt:lpstr>Based on our M&amp;A strategy, we identified 20 [insert your own number] potential target companies, including the 10 listed below</vt:lpstr>
      <vt:lpstr>Based on our M&amp;A strategy, we identified 20 [insert your own number] potential target companies, including the 10 listed below</vt:lpstr>
      <vt:lpstr>Table of contents</vt:lpstr>
      <vt:lpstr>We rated our potential target companies by scoring 1 point for meeting a criteria, and 0 point for not meeting a criteria</vt:lpstr>
      <vt:lpstr>We rated our potential target companies by scoring 1 point for meeting a criteria, and 0 point for not meeting a criteria</vt:lpstr>
      <vt:lpstr>Table of contents</vt:lpstr>
      <vt:lpstr>Let’s now focus on the 3 [insert your own number] targets that reach a score of 5 out of 5</vt:lpstr>
      <vt:lpstr>For these 3 targets, we conducted a financial statements analysis and estimate their standalone business value</vt:lpstr>
      <vt:lpstr>Table of contents</vt:lpstr>
      <vt:lpstr>Summary of our financial statement analysis Profitability ratios</vt:lpstr>
      <vt:lpstr>Summary of our financial statement analysis Profitability ratios</vt:lpstr>
      <vt:lpstr>Summary of our financial statement analysis Efficiency ratios</vt:lpstr>
      <vt:lpstr>Summary of our financial statement analysis Solvency ratios</vt:lpstr>
      <vt:lpstr>Summary of our financial statement analysis Efficiency ratios</vt:lpstr>
      <vt:lpstr>Summary of our financial statement analysis Solvency ratios</vt:lpstr>
      <vt:lpstr>Summary of our financial statement analysis Liquidity ratios</vt:lpstr>
      <vt:lpstr>Summary of our financial statement analysis Leverage ratios</vt:lpstr>
      <vt:lpstr>Summary of our financial statement analysis Return on investment ratios</vt:lpstr>
      <vt:lpstr>Table of contents</vt:lpstr>
      <vt:lpstr>Standalone business valuation of our 3 targets using a discounted cash flow model plus terminal value</vt:lpstr>
      <vt:lpstr>Table of contents</vt:lpstr>
      <vt:lpstr>Based on our financial statements analysis and business valuation estimates, we decided to approve [insert company name] and the [insert company name] for the business case phase</vt:lpstr>
      <vt:lpstr>Interested in more than 1 Toolkit?  Access all our Toolkits for half the price with our Gold Access</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6</cp:revision>
  <dcterms:created xsi:type="dcterms:W3CDTF">2020-07-08T04:44:55Z</dcterms:created>
  <dcterms:modified xsi:type="dcterms:W3CDTF">2023-06-14T02:51:41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